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5"/>
  </p:notesMasterIdLst>
  <p:handoutMasterIdLst>
    <p:handoutMasterId r:id="rId16"/>
  </p:handoutMasterIdLst>
  <p:sldIdLst>
    <p:sldId id="532" r:id="rId2"/>
    <p:sldId id="533" r:id="rId3"/>
    <p:sldId id="534" r:id="rId4"/>
    <p:sldId id="435" r:id="rId5"/>
    <p:sldId id="436" r:id="rId6"/>
    <p:sldId id="547" r:id="rId7"/>
    <p:sldId id="548" r:id="rId8"/>
    <p:sldId id="549" r:id="rId9"/>
    <p:sldId id="437" r:id="rId10"/>
    <p:sldId id="438" r:id="rId11"/>
    <p:sldId id="540" r:id="rId12"/>
    <p:sldId id="541" r:id="rId13"/>
    <p:sldId id="550" r:id="rId14"/>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006" autoAdjust="0"/>
    <p:restoredTop sz="80136" autoAdjust="0"/>
  </p:normalViewPr>
  <p:slideViewPr>
    <p:cSldViewPr>
      <p:cViewPr varScale="1">
        <p:scale>
          <a:sx n="101" d="100"/>
          <a:sy n="101" d="100"/>
        </p:scale>
        <p:origin x="1136" y="192"/>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B12AECE8-E731-4B49-AF4B-89711430AF8E}" type="presOf" srcId="{5D62F0D9-F62E-470E-86C1-99BBA8E85072}" destId="{8A46F5DD-BBB3-4FA2-8F4F-67830FF58BA8}" srcOrd="0" destOrd="0" presId="urn:microsoft.com/office/officeart/2005/8/layout/cycle2"/>
    <dgm:cxn modelId="{DCC3C2FC-292E-D348-BA12-CB2B3D88D332}" type="presOf" srcId="{9DF463DA-C321-47BB-A748-44B5D722BDE4}" destId="{03D7DCAF-0535-410C-B056-000B4ED11701}" srcOrd="0" destOrd="0" presId="urn:microsoft.com/office/officeart/2005/8/layout/cycle2"/>
    <dgm:cxn modelId="{776F1AFB-16D4-FD42-86A9-2A59A222FBB7}"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a tax practitioner approach</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a:t>Authorize a Rep</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a:t>spousal return</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5BF3B0CD-4603-5F44-BA82-84CA58F42B8F}" type="pres">
      <dgm:prSet presAssocID="{02BA0D8E-884F-D545-BFF7-95207C181DAB}" presName="vert0" presStyleCnt="0">
        <dgm:presLayoutVars>
          <dgm:dir/>
          <dgm:animOne val="branch"/>
          <dgm:animLvl val="lvl"/>
        </dgm:presLayoutVars>
      </dgm:prSet>
      <dgm:spPr/>
    </dgm:pt>
    <dgm:pt modelId="{6FE0D0AC-9F36-EC43-BD72-FB6D5F9A20CC}" type="pres">
      <dgm:prSet presAssocID="{CF0461F7-EC97-BB41-A574-9C1E3009EACC}" presName="thickLine" presStyleLbl="alignNode1" presStyleIdx="0" presStyleCnt="3"/>
      <dgm:spPr/>
    </dgm:pt>
    <dgm:pt modelId="{FD3A36B2-26C6-6347-9055-5D9C30670FEC}" type="pres">
      <dgm:prSet presAssocID="{CF0461F7-EC97-BB41-A574-9C1E3009EACC}" presName="horz1" presStyleCnt="0"/>
      <dgm:spPr/>
    </dgm:pt>
    <dgm:pt modelId="{8B6D64D1-2C0E-1F41-A68E-613348A790E8}" type="pres">
      <dgm:prSet presAssocID="{CF0461F7-EC97-BB41-A574-9C1E3009EACC}" presName="tx1" presStyleLbl="revTx" presStyleIdx="0" presStyleCnt="3"/>
      <dgm:spPr/>
    </dgm:pt>
    <dgm:pt modelId="{7E735F31-D7B5-DE49-978E-E27CFD692267}" type="pres">
      <dgm:prSet presAssocID="{CF0461F7-EC97-BB41-A574-9C1E3009EACC}" presName="vert1" presStyleCnt="0"/>
      <dgm:spPr/>
    </dgm:pt>
    <dgm:pt modelId="{52167793-1FD0-F14F-8B31-74874924A2CE}" type="pres">
      <dgm:prSet presAssocID="{B9B532DC-7579-A74D-A3A9-E4A357178627}" presName="thickLine" presStyleLbl="alignNode1" presStyleIdx="1" presStyleCnt="3"/>
      <dgm:spPr/>
    </dgm:pt>
    <dgm:pt modelId="{5CE18753-0545-BC4D-AD7A-3FFC78FE2B49}" type="pres">
      <dgm:prSet presAssocID="{B9B532DC-7579-A74D-A3A9-E4A357178627}" presName="horz1" presStyleCnt="0"/>
      <dgm:spPr/>
    </dgm:pt>
    <dgm:pt modelId="{DE537049-EAFE-564A-9514-5B420DE609F0}" type="pres">
      <dgm:prSet presAssocID="{B9B532DC-7579-A74D-A3A9-E4A357178627}" presName="tx1" presStyleLbl="revTx" presStyleIdx="1" presStyleCnt="3"/>
      <dgm:spPr/>
    </dgm:pt>
    <dgm:pt modelId="{7713F61E-2A28-2041-8AEB-CE381ED039A5}" type="pres">
      <dgm:prSet presAssocID="{B9B532DC-7579-A74D-A3A9-E4A357178627}" presName="vert1" presStyleCnt="0"/>
      <dgm:spPr/>
    </dgm:pt>
    <dgm:pt modelId="{AD46E925-F04D-AC4F-8A42-65E2E63D96D5}" type="pres">
      <dgm:prSet presAssocID="{E9E1A492-A442-6C43-A079-9B2482565921}" presName="thickLine" presStyleLbl="alignNode1" presStyleIdx="2" presStyleCnt="3"/>
      <dgm:spPr/>
    </dgm:pt>
    <dgm:pt modelId="{0DBE1992-CC90-694A-AFD8-EA6120845301}" type="pres">
      <dgm:prSet presAssocID="{E9E1A492-A442-6C43-A079-9B2482565921}" presName="horz1" presStyleCnt="0"/>
      <dgm:spPr/>
    </dgm:pt>
    <dgm:pt modelId="{BD5A9215-123B-FC47-9A8E-286C763EE087}" type="pres">
      <dgm:prSet presAssocID="{E9E1A492-A442-6C43-A079-9B2482565921}" presName="tx1" presStyleLbl="revTx" presStyleIdx="2" presStyleCnt="3"/>
      <dgm:spPr/>
    </dgm:pt>
    <dgm:pt modelId="{146A24F3-A4EB-BE45-A54B-07407EF98A92}" type="pres">
      <dgm:prSet presAssocID="{E9E1A492-A442-6C43-A079-9B2482565921}" presName="vert1" presStyleCnt="0"/>
      <dgm:spPr/>
    </dgm:pt>
  </dgm:ptLst>
  <dgm:cxnLst>
    <dgm:cxn modelId="{31679A34-BC1C-9B47-A465-8310BC622C96}" srcId="{02BA0D8E-884F-D545-BFF7-95207C181DAB}" destId="{E9E1A492-A442-6C43-A079-9B2482565921}" srcOrd="2" destOrd="0" parTransId="{F39FAEFA-8DEA-E142-8952-745FE877BDDD}" sibTransId="{8DF5F8B3-18E1-2741-93BA-87118D4666ED}"/>
    <dgm:cxn modelId="{34D5CE78-B09F-C449-9DD0-C6AECEC9580E}" type="presOf" srcId="{02BA0D8E-884F-D545-BFF7-95207C181DAB}" destId="{5BF3B0CD-4603-5F44-BA82-84CA58F42B8F}" srcOrd="0" destOrd="0" presId="urn:microsoft.com/office/officeart/2008/layout/LinedList"/>
    <dgm:cxn modelId="{137F197D-89C3-8649-9803-B99CEF0B6398}" type="presOf" srcId="{E9E1A492-A442-6C43-A079-9B2482565921}" destId="{BD5A9215-123B-FC47-9A8E-286C763EE087}" srcOrd="0" destOrd="0" presId="urn:microsoft.com/office/officeart/2008/layout/LinedList"/>
    <dgm:cxn modelId="{20B7C17F-1543-1944-A2F3-5A06AEABE0AF}" srcId="{02BA0D8E-884F-D545-BFF7-95207C181DAB}" destId="{B9B532DC-7579-A74D-A3A9-E4A357178627}" srcOrd="1" destOrd="0" parTransId="{7114159D-1D93-7D4B-9DB1-F4C808F73DF0}" sibTransId="{9D9340EA-F9F1-8E48-B19A-6C6ED50DF54C}"/>
    <dgm:cxn modelId="{674D6C8A-30E6-564D-9142-120BB4D947A9}" srcId="{02BA0D8E-884F-D545-BFF7-95207C181DAB}" destId="{CF0461F7-EC97-BB41-A574-9C1E3009EACC}" srcOrd="0" destOrd="0" parTransId="{B2C709E6-0566-4D4E-97EA-2EBE699D701F}" sibTransId="{ABC1C475-5434-1B41-BC48-ADC728C8CBF7}"/>
    <dgm:cxn modelId="{A74C4DD2-7D65-154B-BE7F-9369ED7E90AC}" type="presOf" srcId="{B9B532DC-7579-A74D-A3A9-E4A357178627}" destId="{DE537049-EAFE-564A-9514-5B420DE609F0}" srcOrd="0" destOrd="0" presId="urn:microsoft.com/office/officeart/2008/layout/LinedList"/>
    <dgm:cxn modelId="{CFA28FE6-0ACC-8D41-ABED-ABF249993503}" type="presOf" srcId="{CF0461F7-EC97-BB41-A574-9C1E3009EACC}" destId="{8B6D64D1-2C0E-1F41-A68E-613348A790E8}" srcOrd="0" destOrd="0" presId="urn:microsoft.com/office/officeart/2008/layout/LinedList"/>
    <dgm:cxn modelId="{5E3BA488-D017-0143-AAAE-889B0E6CA131}" type="presParOf" srcId="{5BF3B0CD-4603-5F44-BA82-84CA58F42B8F}" destId="{6FE0D0AC-9F36-EC43-BD72-FB6D5F9A20CC}" srcOrd="0" destOrd="0" presId="urn:microsoft.com/office/officeart/2008/layout/LinedList"/>
    <dgm:cxn modelId="{AD180037-C14F-B647-A4A3-CA8D8344FC4F}" type="presParOf" srcId="{5BF3B0CD-4603-5F44-BA82-84CA58F42B8F}" destId="{FD3A36B2-26C6-6347-9055-5D9C30670FEC}" srcOrd="1" destOrd="0" presId="urn:microsoft.com/office/officeart/2008/layout/LinedList"/>
    <dgm:cxn modelId="{C154FEB0-225E-9046-B3C1-EA38ED4D8CF5}" type="presParOf" srcId="{FD3A36B2-26C6-6347-9055-5D9C30670FEC}" destId="{8B6D64D1-2C0E-1F41-A68E-613348A790E8}" srcOrd="0" destOrd="0" presId="urn:microsoft.com/office/officeart/2008/layout/LinedList"/>
    <dgm:cxn modelId="{CCE95A9D-6F13-C647-870D-D35757A26A45}" type="presParOf" srcId="{FD3A36B2-26C6-6347-9055-5D9C30670FEC}" destId="{7E735F31-D7B5-DE49-978E-E27CFD692267}" srcOrd="1" destOrd="0" presId="urn:microsoft.com/office/officeart/2008/layout/LinedList"/>
    <dgm:cxn modelId="{0D151031-973E-064D-88C2-2DAFE43A09BD}" type="presParOf" srcId="{5BF3B0CD-4603-5F44-BA82-84CA58F42B8F}" destId="{52167793-1FD0-F14F-8B31-74874924A2CE}" srcOrd="2" destOrd="0" presId="urn:microsoft.com/office/officeart/2008/layout/LinedList"/>
    <dgm:cxn modelId="{CC666D07-B320-044E-B853-0BCE41CF080D}" type="presParOf" srcId="{5BF3B0CD-4603-5F44-BA82-84CA58F42B8F}" destId="{5CE18753-0545-BC4D-AD7A-3FFC78FE2B49}" srcOrd="3" destOrd="0" presId="urn:microsoft.com/office/officeart/2008/layout/LinedList"/>
    <dgm:cxn modelId="{0FB1E5AA-450E-E444-8C85-D316E7C7C6A3}" type="presParOf" srcId="{5CE18753-0545-BC4D-AD7A-3FFC78FE2B49}" destId="{DE537049-EAFE-564A-9514-5B420DE609F0}" srcOrd="0" destOrd="0" presId="urn:microsoft.com/office/officeart/2008/layout/LinedList"/>
    <dgm:cxn modelId="{70D0F87B-11F9-644E-80FE-5C5D8B60071C}" type="presParOf" srcId="{5CE18753-0545-BC4D-AD7A-3FFC78FE2B49}" destId="{7713F61E-2A28-2041-8AEB-CE381ED039A5}" srcOrd="1" destOrd="0" presId="urn:microsoft.com/office/officeart/2008/layout/LinedList"/>
    <dgm:cxn modelId="{CDF87FCC-6BE7-554D-867F-584D528C8F33}" type="presParOf" srcId="{5BF3B0CD-4603-5F44-BA82-84CA58F42B8F}" destId="{AD46E925-F04D-AC4F-8A42-65E2E63D96D5}" srcOrd="4" destOrd="0" presId="urn:microsoft.com/office/officeart/2008/layout/LinedList"/>
    <dgm:cxn modelId="{F5D22EEC-5EC6-4642-BC0E-8E1377D5A47C}" type="presParOf" srcId="{5BF3B0CD-4603-5F44-BA82-84CA58F42B8F}" destId="{0DBE1992-CC90-694A-AFD8-EA6120845301}" srcOrd="5" destOrd="0" presId="urn:microsoft.com/office/officeart/2008/layout/LinedList"/>
    <dgm:cxn modelId="{B18A85BE-24B7-AE4D-BEFF-FBC5A63B9E09}" type="presParOf" srcId="{0DBE1992-CC90-694A-AFD8-EA6120845301}" destId="{BD5A9215-123B-FC47-9A8E-286C763EE087}" srcOrd="0" destOrd="0" presId="urn:microsoft.com/office/officeart/2008/layout/LinedList"/>
    <dgm:cxn modelId="{FC85D352-5237-BC4C-8F3B-7BEE86B73461}" type="presParOf" srcId="{0DBE1992-CC90-694A-AFD8-EA6120845301}" destId="{146A24F3-A4EB-BE45-A54B-07407EF98A92}"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a:t>page 21</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1D6697C3-AE97-1845-B11C-5BCA3A617671}" type="presOf" srcId="{5D62F0D9-F62E-470E-86C1-99BBA8E85072}" destId="{8A46F5DD-BBB3-4FA2-8F4F-67830FF58BA8}" srcOrd="0" destOrd="0" presId="urn:microsoft.com/office/officeart/2005/8/layout/cycle2"/>
    <dgm:cxn modelId="{E842D9CB-BB94-8E4F-9063-A56E4463D56A}"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500A196-D968-E24D-867B-6E5487EB11C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data entry</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a:t>spousal toggle</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a:t>slip summary</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BAF0B8FD-C9C4-2A48-8F0C-094674A709A1}" type="pres">
      <dgm:prSet presAssocID="{02BA0D8E-884F-D545-BFF7-95207C181DAB}" presName="vert0" presStyleCnt="0">
        <dgm:presLayoutVars>
          <dgm:dir/>
          <dgm:animOne val="branch"/>
          <dgm:animLvl val="lvl"/>
        </dgm:presLayoutVars>
      </dgm:prSet>
      <dgm:spPr/>
    </dgm:pt>
    <dgm:pt modelId="{8C027ABC-353D-1A4B-A6DF-F9125F618410}" type="pres">
      <dgm:prSet presAssocID="{CF0461F7-EC97-BB41-A574-9C1E3009EACC}" presName="thickLine" presStyleLbl="alignNode1" presStyleIdx="0" presStyleCnt="3"/>
      <dgm:spPr/>
    </dgm:pt>
    <dgm:pt modelId="{ADCAB5F9-91AF-FC4D-A208-7CBABDCFC1A3}" type="pres">
      <dgm:prSet presAssocID="{CF0461F7-EC97-BB41-A574-9C1E3009EACC}" presName="horz1" presStyleCnt="0"/>
      <dgm:spPr/>
    </dgm:pt>
    <dgm:pt modelId="{FFCA25D9-0BC9-C347-8083-939EC9F800EF}" type="pres">
      <dgm:prSet presAssocID="{CF0461F7-EC97-BB41-A574-9C1E3009EACC}" presName="tx1" presStyleLbl="revTx" presStyleIdx="0" presStyleCnt="3"/>
      <dgm:spPr/>
    </dgm:pt>
    <dgm:pt modelId="{50E1901E-934B-5A48-832E-17FC7D55DC9A}" type="pres">
      <dgm:prSet presAssocID="{CF0461F7-EC97-BB41-A574-9C1E3009EACC}" presName="vert1" presStyleCnt="0"/>
      <dgm:spPr/>
    </dgm:pt>
    <dgm:pt modelId="{9CE7041A-FEDA-D849-9753-9DA3F5AC8D7A}" type="pres">
      <dgm:prSet presAssocID="{B9B532DC-7579-A74D-A3A9-E4A357178627}" presName="thickLine" presStyleLbl="alignNode1" presStyleIdx="1" presStyleCnt="3"/>
      <dgm:spPr/>
    </dgm:pt>
    <dgm:pt modelId="{E1C1331A-B7E5-5B44-B2E0-2AFB146F9F9B}" type="pres">
      <dgm:prSet presAssocID="{B9B532DC-7579-A74D-A3A9-E4A357178627}" presName="horz1" presStyleCnt="0"/>
      <dgm:spPr/>
    </dgm:pt>
    <dgm:pt modelId="{3EA61A54-C77E-AB47-AA54-E393ACAF4402}" type="pres">
      <dgm:prSet presAssocID="{B9B532DC-7579-A74D-A3A9-E4A357178627}" presName="tx1" presStyleLbl="revTx" presStyleIdx="1" presStyleCnt="3"/>
      <dgm:spPr/>
    </dgm:pt>
    <dgm:pt modelId="{2E3D31C1-BE5E-3545-A770-B45944FA6B97}" type="pres">
      <dgm:prSet presAssocID="{B9B532DC-7579-A74D-A3A9-E4A357178627}" presName="vert1" presStyleCnt="0"/>
      <dgm:spPr/>
    </dgm:pt>
    <dgm:pt modelId="{94C8C9B6-E016-A645-A6B4-CAC28032D7A0}" type="pres">
      <dgm:prSet presAssocID="{E9E1A492-A442-6C43-A079-9B2482565921}" presName="thickLine" presStyleLbl="alignNode1" presStyleIdx="2" presStyleCnt="3"/>
      <dgm:spPr/>
    </dgm:pt>
    <dgm:pt modelId="{B84C76E1-7F10-EA4B-8103-2634F7C9202A}" type="pres">
      <dgm:prSet presAssocID="{E9E1A492-A442-6C43-A079-9B2482565921}" presName="horz1" presStyleCnt="0"/>
      <dgm:spPr/>
    </dgm:pt>
    <dgm:pt modelId="{367DCFD7-9E7D-384B-ABFA-35CB3F1627F5}" type="pres">
      <dgm:prSet presAssocID="{E9E1A492-A442-6C43-A079-9B2482565921}" presName="tx1" presStyleLbl="revTx" presStyleIdx="2" presStyleCnt="3"/>
      <dgm:spPr/>
    </dgm:pt>
    <dgm:pt modelId="{FBC78F40-57D3-3C4A-BDCA-F789473BA0CC}" type="pres">
      <dgm:prSet presAssocID="{E9E1A492-A442-6C43-A079-9B2482565921}" presName="vert1" presStyleCnt="0"/>
      <dgm:spPr/>
    </dgm:pt>
  </dgm:ptLst>
  <dgm:cxnLst>
    <dgm:cxn modelId="{8F8FF106-306F-8F49-8BE0-19B00C730E20}" type="presOf" srcId="{B9B532DC-7579-A74D-A3A9-E4A357178627}" destId="{3EA61A54-C77E-AB47-AA54-E393ACAF4402}" srcOrd="0" destOrd="0" presId="urn:microsoft.com/office/officeart/2008/layout/LinedList"/>
    <dgm:cxn modelId="{31679A34-BC1C-9B47-A465-8310BC622C96}" srcId="{02BA0D8E-884F-D545-BFF7-95207C181DAB}" destId="{E9E1A492-A442-6C43-A079-9B2482565921}" srcOrd="2" destOrd="0" parTransId="{F39FAEFA-8DEA-E142-8952-745FE877BDDD}" sibTransId="{8DF5F8B3-18E1-2741-93BA-87118D4666ED}"/>
    <dgm:cxn modelId="{BE27D338-FAE5-FC4B-8889-31934E032609}" type="presOf" srcId="{E9E1A492-A442-6C43-A079-9B2482565921}" destId="{367DCFD7-9E7D-384B-ABFA-35CB3F1627F5}" srcOrd="0" destOrd="0" presId="urn:microsoft.com/office/officeart/2008/layout/LinedList"/>
    <dgm:cxn modelId="{E5C8E73D-6343-D94D-B56B-2A5D7251E63D}" type="presOf" srcId="{CF0461F7-EC97-BB41-A574-9C1E3009EACC}" destId="{FFCA25D9-0BC9-C347-8083-939EC9F800EF}" srcOrd="0" destOrd="0" presId="urn:microsoft.com/office/officeart/2008/layout/LinedList"/>
    <dgm:cxn modelId="{20B7C17F-1543-1944-A2F3-5A06AEABE0AF}" srcId="{02BA0D8E-884F-D545-BFF7-95207C181DAB}" destId="{B9B532DC-7579-A74D-A3A9-E4A357178627}" srcOrd="1" destOrd="0" parTransId="{7114159D-1D93-7D4B-9DB1-F4C808F73DF0}" sibTransId="{9D9340EA-F9F1-8E48-B19A-6C6ED50DF54C}"/>
    <dgm:cxn modelId="{674D6C8A-30E6-564D-9142-120BB4D947A9}" srcId="{02BA0D8E-884F-D545-BFF7-95207C181DAB}" destId="{CF0461F7-EC97-BB41-A574-9C1E3009EACC}" srcOrd="0" destOrd="0" parTransId="{B2C709E6-0566-4D4E-97EA-2EBE699D701F}" sibTransId="{ABC1C475-5434-1B41-BC48-ADC728C8CBF7}"/>
    <dgm:cxn modelId="{8F10799E-4DF9-3F47-B747-C165878329D3}" type="presOf" srcId="{02BA0D8E-884F-D545-BFF7-95207C181DAB}" destId="{BAF0B8FD-C9C4-2A48-8F0C-094674A709A1}" srcOrd="0" destOrd="0" presId="urn:microsoft.com/office/officeart/2008/layout/LinedList"/>
    <dgm:cxn modelId="{AECB8A27-2D9C-2241-91A3-BCBA902EF619}" type="presParOf" srcId="{BAF0B8FD-C9C4-2A48-8F0C-094674A709A1}" destId="{8C027ABC-353D-1A4B-A6DF-F9125F618410}" srcOrd="0" destOrd="0" presId="urn:microsoft.com/office/officeart/2008/layout/LinedList"/>
    <dgm:cxn modelId="{21AC540E-527E-7A4B-AC57-8F212F583F53}" type="presParOf" srcId="{BAF0B8FD-C9C4-2A48-8F0C-094674A709A1}" destId="{ADCAB5F9-91AF-FC4D-A208-7CBABDCFC1A3}" srcOrd="1" destOrd="0" presId="urn:microsoft.com/office/officeart/2008/layout/LinedList"/>
    <dgm:cxn modelId="{C2871B5E-5C94-3247-A46F-5FE635A3D9B3}" type="presParOf" srcId="{ADCAB5F9-91AF-FC4D-A208-7CBABDCFC1A3}" destId="{FFCA25D9-0BC9-C347-8083-939EC9F800EF}" srcOrd="0" destOrd="0" presId="urn:microsoft.com/office/officeart/2008/layout/LinedList"/>
    <dgm:cxn modelId="{728CE97B-E279-EB49-AF88-7040106E938C}" type="presParOf" srcId="{ADCAB5F9-91AF-FC4D-A208-7CBABDCFC1A3}" destId="{50E1901E-934B-5A48-832E-17FC7D55DC9A}" srcOrd="1" destOrd="0" presId="urn:microsoft.com/office/officeart/2008/layout/LinedList"/>
    <dgm:cxn modelId="{BC7953DF-65CB-4F4F-81E2-97C7EB713E20}" type="presParOf" srcId="{BAF0B8FD-C9C4-2A48-8F0C-094674A709A1}" destId="{9CE7041A-FEDA-D849-9753-9DA3F5AC8D7A}" srcOrd="2" destOrd="0" presId="urn:microsoft.com/office/officeart/2008/layout/LinedList"/>
    <dgm:cxn modelId="{91EE924D-611A-8E4D-80AB-2CD6829D9224}" type="presParOf" srcId="{BAF0B8FD-C9C4-2A48-8F0C-094674A709A1}" destId="{E1C1331A-B7E5-5B44-B2E0-2AFB146F9F9B}" srcOrd="3" destOrd="0" presId="urn:microsoft.com/office/officeart/2008/layout/LinedList"/>
    <dgm:cxn modelId="{A0C482A2-7464-8142-80B3-F06425524980}" type="presParOf" srcId="{E1C1331A-B7E5-5B44-B2E0-2AFB146F9F9B}" destId="{3EA61A54-C77E-AB47-AA54-E393ACAF4402}" srcOrd="0" destOrd="0" presId="urn:microsoft.com/office/officeart/2008/layout/LinedList"/>
    <dgm:cxn modelId="{C350AA51-55B2-AC40-800B-E6F829BE7B3C}" type="presParOf" srcId="{E1C1331A-B7E5-5B44-B2E0-2AFB146F9F9B}" destId="{2E3D31C1-BE5E-3545-A770-B45944FA6B97}" srcOrd="1" destOrd="0" presId="urn:microsoft.com/office/officeart/2008/layout/LinedList"/>
    <dgm:cxn modelId="{46AC78FC-23A5-B946-8DBB-4889731F2ECF}" type="presParOf" srcId="{BAF0B8FD-C9C4-2A48-8F0C-094674A709A1}" destId="{94C8C9B6-E016-A645-A6B4-CAC28032D7A0}" srcOrd="4" destOrd="0" presId="urn:microsoft.com/office/officeart/2008/layout/LinedList"/>
    <dgm:cxn modelId="{D42DB9E7-6A66-804A-BF3A-D7237EB86A9E}" type="presParOf" srcId="{BAF0B8FD-C9C4-2A48-8F0C-094674A709A1}" destId="{B84C76E1-7F10-EA4B-8103-2634F7C9202A}" srcOrd="5" destOrd="0" presId="urn:microsoft.com/office/officeart/2008/layout/LinedList"/>
    <dgm:cxn modelId="{B5CE1D8C-1900-8741-A0CD-B49BC5D6556E}" type="presParOf" srcId="{B84C76E1-7F10-EA4B-8103-2634F7C9202A}" destId="{367DCFD7-9E7D-384B-ABFA-35CB3F1627F5}" srcOrd="0" destOrd="0" presId="urn:microsoft.com/office/officeart/2008/layout/LinedList"/>
    <dgm:cxn modelId="{AD6A2799-8E55-D64E-BCF1-A3CD2AB9CB88}" type="presParOf" srcId="{B84C76E1-7F10-EA4B-8103-2634F7C9202A}" destId="{FBC78F40-57D3-3C4A-BDCA-F789473BA0CC}"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l"/>
          <a:r>
            <a:rPr lang="en-CA" sz="2800" dirty="0"/>
            <a:t>the auditor</a:t>
          </a:r>
          <a:endParaRPr lang="en-US" sz="28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pt>
    <dgm:pt modelId="{D318CF66-E904-4B8F-9EF2-32A9C2878F07}" type="pres">
      <dgm:prSet presAssocID="{C7F8E31E-1B1C-F149-9A39-566188585147}" presName="parentText" presStyleLbl="node1" presStyleIdx="0" presStyleCnt="1" custLinFactNeighborX="29613" custLinFactNeighborY="43693">
        <dgm:presLayoutVars>
          <dgm:chMax val="0"/>
          <dgm:bulletEnabled val="1"/>
        </dgm:presLayoutVars>
      </dgm:prSet>
      <dgm:spPr/>
    </dgm:pt>
  </dgm:ptLst>
  <dgm:cxnLst>
    <dgm:cxn modelId="{BC01D10A-1C2D-4446-8E99-45C0487CD7F3}" type="presOf" srcId="{C7F8E31E-1B1C-F149-9A39-566188585147}" destId="{D318CF66-E904-4B8F-9EF2-32A9C2878F07}" srcOrd="0" destOrd="0" presId="urn:microsoft.com/office/officeart/2005/8/layout/vList2"/>
    <dgm:cxn modelId="{FEBC1B96-FD53-E248-8388-99728BD3DC57}" type="presOf" srcId="{7BC2DB20-EFFD-4E7B-93C1-553BACDC4218}" destId="{CFD475EB-E371-4E1B-B52F-2330D78E893F}"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3CAF7A27-FC0A-D04A-9600-F1A39C4E567E}"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4</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F4F8F00F-455E-AE40-9961-CCE1A3B4B946}" type="presOf" srcId="{5D62F0D9-F62E-470E-86C1-99BBA8E85072}" destId="{8A46F5DD-BBB3-4FA2-8F4F-67830FF58BA8}" srcOrd="0" destOrd="0" presId="urn:microsoft.com/office/officeart/2005/8/layout/cycle2"/>
    <dgm:cxn modelId="{90BF15A0-C6AB-BF48-A563-DD28AFCEF9F1}"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0E5191FF-D09D-1349-8038-797A8A7421D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6</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F266273-9237-774E-B30E-ECCC42576AFF}" type="presOf" srcId="{5D62F0D9-F62E-470E-86C1-99BBA8E85072}" destId="{8A46F5DD-BBB3-4FA2-8F4F-67830FF58BA8}" srcOrd="0" destOrd="0" presId="urn:microsoft.com/office/officeart/2005/8/layout/cycle2"/>
    <dgm:cxn modelId="{DD144285-53A4-D047-BA20-703E9ADE5432}"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C720071E-402D-894A-BC34-B617426F7C8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print / pdf</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a:t>t183</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a:t>EFILE</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117143E6-E769-A949-87A0-0225EA8FCFD1}" type="pres">
      <dgm:prSet presAssocID="{02BA0D8E-884F-D545-BFF7-95207C181DAB}" presName="vert0" presStyleCnt="0">
        <dgm:presLayoutVars>
          <dgm:dir/>
          <dgm:animOne val="branch"/>
          <dgm:animLvl val="lvl"/>
        </dgm:presLayoutVars>
      </dgm:prSet>
      <dgm:spPr/>
    </dgm:pt>
    <dgm:pt modelId="{AC0E70E6-18FD-D04F-8E24-08A47FF2AC80}" type="pres">
      <dgm:prSet presAssocID="{CF0461F7-EC97-BB41-A574-9C1E3009EACC}" presName="thickLine" presStyleLbl="alignNode1" presStyleIdx="0" presStyleCnt="3"/>
      <dgm:spPr/>
    </dgm:pt>
    <dgm:pt modelId="{0C2EE86F-C5ED-FA44-B750-822F2C5E76AB}" type="pres">
      <dgm:prSet presAssocID="{CF0461F7-EC97-BB41-A574-9C1E3009EACC}" presName="horz1" presStyleCnt="0"/>
      <dgm:spPr/>
    </dgm:pt>
    <dgm:pt modelId="{14D982DE-2C81-E349-A4EB-7A1CB44D7961}" type="pres">
      <dgm:prSet presAssocID="{CF0461F7-EC97-BB41-A574-9C1E3009EACC}" presName="tx1" presStyleLbl="revTx" presStyleIdx="0" presStyleCnt="3"/>
      <dgm:spPr/>
    </dgm:pt>
    <dgm:pt modelId="{C134FE23-34FD-314B-B6D2-2036AA532727}" type="pres">
      <dgm:prSet presAssocID="{CF0461F7-EC97-BB41-A574-9C1E3009EACC}" presName="vert1" presStyleCnt="0"/>
      <dgm:spPr/>
    </dgm:pt>
    <dgm:pt modelId="{A926D31E-BAE7-C048-8334-916A86F7C845}" type="pres">
      <dgm:prSet presAssocID="{B9B532DC-7579-A74D-A3A9-E4A357178627}" presName="thickLine" presStyleLbl="alignNode1" presStyleIdx="1" presStyleCnt="3"/>
      <dgm:spPr/>
    </dgm:pt>
    <dgm:pt modelId="{8C24DDC8-3D1C-4C4A-A9E1-289231E38832}" type="pres">
      <dgm:prSet presAssocID="{B9B532DC-7579-A74D-A3A9-E4A357178627}" presName="horz1" presStyleCnt="0"/>
      <dgm:spPr/>
    </dgm:pt>
    <dgm:pt modelId="{49F61D32-B374-884C-A69C-CD5F34585162}" type="pres">
      <dgm:prSet presAssocID="{B9B532DC-7579-A74D-A3A9-E4A357178627}" presName="tx1" presStyleLbl="revTx" presStyleIdx="1" presStyleCnt="3"/>
      <dgm:spPr/>
    </dgm:pt>
    <dgm:pt modelId="{2FF72F86-2614-5F44-AFE6-9B7DD8925D6B}" type="pres">
      <dgm:prSet presAssocID="{B9B532DC-7579-A74D-A3A9-E4A357178627}" presName="vert1" presStyleCnt="0"/>
      <dgm:spPr/>
    </dgm:pt>
    <dgm:pt modelId="{61B4140E-D24F-744B-888E-E56439429103}" type="pres">
      <dgm:prSet presAssocID="{E9E1A492-A442-6C43-A079-9B2482565921}" presName="thickLine" presStyleLbl="alignNode1" presStyleIdx="2" presStyleCnt="3"/>
      <dgm:spPr/>
    </dgm:pt>
    <dgm:pt modelId="{4047B02F-3149-0349-8BF1-26279BA0A5A0}" type="pres">
      <dgm:prSet presAssocID="{E9E1A492-A442-6C43-A079-9B2482565921}" presName="horz1" presStyleCnt="0"/>
      <dgm:spPr/>
    </dgm:pt>
    <dgm:pt modelId="{409B5826-4AB9-CA49-800C-D15B1B0BEBEC}" type="pres">
      <dgm:prSet presAssocID="{E9E1A492-A442-6C43-A079-9B2482565921}" presName="tx1" presStyleLbl="revTx" presStyleIdx="2" presStyleCnt="3"/>
      <dgm:spPr/>
    </dgm:pt>
    <dgm:pt modelId="{F2DD8A2E-35E1-6942-8ED0-AEEA43EF1198}" type="pres">
      <dgm:prSet presAssocID="{E9E1A492-A442-6C43-A079-9B2482565921}" presName="vert1" presStyleCnt="0"/>
      <dgm:spPr/>
    </dgm:pt>
  </dgm:ptLst>
  <dgm:cxnLst>
    <dgm:cxn modelId="{31679A34-BC1C-9B47-A465-8310BC622C96}" srcId="{02BA0D8E-884F-D545-BFF7-95207C181DAB}" destId="{E9E1A492-A442-6C43-A079-9B2482565921}" srcOrd="2" destOrd="0" parTransId="{F39FAEFA-8DEA-E142-8952-745FE877BDDD}" sibTransId="{8DF5F8B3-18E1-2741-93BA-87118D4666ED}"/>
    <dgm:cxn modelId="{759AEC36-BB8F-6D47-BF7E-8AB23B3D1683}" type="presOf" srcId="{CF0461F7-EC97-BB41-A574-9C1E3009EACC}" destId="{14D982DE-2C81-E349-A4EB-7A1CB44D7961}" srcOrd="0" destOrd="0" presId="urn:microsoft.com/office/officeart/2008/layout/LinedList"/>
    <dgm:cxn modelId="{20B7C17F-1543-1944-A2F3-5A06AEABE0AF}" srcId="{02BA0D8E-884F-D545-BFF7-95207C181DAB}" destId="{B9B532DC-7579-A74D-A3A9-E4A357178627}" srcOrd="1" destOrd="0" parTransId="{7114159D-1D93-7D4B-9DB1-F4C808F73DF0}" sibTransId="{9D9340EA-F9F1-8E48-B19A-6C6ED50DF54C}"/>
    <dgm:cxn modelId="{674D6C8A-30E6-564D-9142-120BB4D947A9}" srcId="{02BA0D8E-884F-D545-BFF7-95207C181DAB}" destId="{CF0461F7-EC97-BB41-A574-9C1E3009EACC}" srcOrd="0" destOrd="0" parTransId="{B2C709E6-0566-4D4E-97EA-2EBE699D701F}" sibTransId="{ABC1C475-5434-1B41-BC48-ADC728C8CBF7}"/>
    <dgm:cxn modelId="{A7E063D4-683A-D243-8C2C-D5934D0DB38F}" type="presOf" srcId="{B9B532DC-7579-A74D-A3A9-E4A357178627}" destId="{49F61D32-B374-884C-A69C-CD5F34585162}" srcOrd="0" destOrd="0" presId="urn:microsoft.com/office/officeart/2008/layout/LinedList"/>
    <dgm:cxn modelId="{C4E3D3ED-6DFE-FD46-9EFB-C543FE7A0EC4}" type="presOf" srcId="{E9E1A492-A442-6C43-A079-9B2482565921}" destId="{409B5826-4AB9-CA49-800C-D15B1B0BEBEC}" srcOrd="0" destOrd="0" presId="urn:microsoft.com/office/officeart/2008/layout/LinedList"/>
    <dgm:cxn modelId="{51950FEF-061A-D445-94A3-3AC823882077}" type="presOf" srcId="{02BA0D8E-884F-D545-BFF7-95207C181DAB}" destId="{117143E6-E769-A949-87A0-0225EA8FCFD1}" srcOrd="0" destOrd="0" presId="urn:microsoft.com/office/officeart/2008/layout/LinedList"/>
    <dgm:cxn modelId="{5D0D9EF0-3552-0D4F-A383-FBB8EC24F453}" type="presParOf" srcId="{117143E6-E769-A949-87A0-0225EA8FCFD1}" destId="{AC0E70E6-18FD-D04F-8E24-08A47FF2AC80}" srcOrd="0" destOrd="0" presId="urn:microsoft.com/office/officeart/2008/layout/LinedList"/>
    <dgm:cxn modelId="{78DE313A-FF2C-CA44-858C-A5BE7970B5D3}" type="presParOf" srcId="{117143E6-E769-A949-87A0-0225EA8FCFD1}" destId="{0C2EE86F-C5ED-FA44-B750-822F2C5E76AB}" srcOrd="1" destOrd="0" presId="urn:microsoft.com/office/officeart/2008/layout/LinedList"/>
    <dgm:cxn modelId="{2EF2625F-D8BE-0E41-9791-1C7C9E0A9E17}" type="presParOf" srcId="{0C2EE86F-C5ED-FA44-B750-822F2C5E76AB}" destId="{14D982DE-2C81-E349-A4EB-7A1CB44D7961}" srcOrd="0" destOrd="0" presId="urn:microsoft.com/office/officeart/2008/layout/LinedList"/>
    <dgm:cxn modelId="{2D20F754-76A8-8340-80F9-DC2EF877AAC7}" type="presParOf" srcId="{0C2EE86F-C5ED-FA44-B750-822F2C5E76AB}" destId="{C134FE23-34FD-314B-B6D2-2036AA532727}" srcOrd="1" destOrd="0" presId="urn:microsoft.com/office/officeart/2008/layout/LinedList"/>
    <dgm:cxn modelId="{A9A9C07D-50BD-9B4D-A7C9-24A4EB62F3C8}" type="presParOf" srcId="{117143E6-E769-A949-87A0-0225EA8FCFD1}" destId="{A926D31E-BAE7-C048-8334-916A86F7C845}" srcOrd="2" destOrd="0" presId="urn:microsoft.com/office/officeart/2008/layout/LinedList"/>
    <dgm:cxn modelId="{578D54C3-4DC7-F14F-8C1B-6F1F63436F5F}" type="presParOf" srcId="{117143E6-E769-A949-87A0-0225EA8FCFD1}" destId="{8C24DDC8-3D1C-4C4A-A9E1-289231E38832}" srcOrd="3" destOrd="0" presId="urn:microsoft.com/office/officeart/2008/layout/LinedList"/>
    <dgm:cxn modelId="{7FF6A641-495B-B840-A369-93A306EF8439}" type="presParOf" srcId="{8C24DDC8-3D1C-4C4A-A9E1-289231E38832}" destId="{49F61D32-B374-884C-A69C-CD5F34585162}" srcOrd="0" destOrd="0" presId="urn:microsoft.com/office/officeart/2008/layout/LinedList"/>
    <dgm:cxn modelId="{136BEEB4-71CE-9143-B686-8FA882D1D81A}" type="presParOf" srcId="{8C24DDC8-3D1C-4C4A-A9E1-289231E38832}" destId="{2FF72F86-2614-5F44-AFE6-9B7DD8925D6B}" srcOrd="1" destOrd="0" presId="urn:microsoft.com/office/officeart/2008/layout/LinedList"/>
    <dgm:cxn modelId="{52A850FF-C51D-2A4D-B3BE-063D036CA7DD}" type="presParOf" srcId="{117143E6-E769-A949-87A0-0225EA8FCFD1}" destId="{61B4140E-D24F-744B-888E-E56439429103}" srcOrd="4" destOrd="0" presId="urn:microsoft.com/office/officeart/2008/layout/LinedList"/>
    <dgm:cxn modelId="{1DD6DF02-A029-7148-8814-A448C4FD7861}" type="presParOf" srcId="{117143E6-E769-A949-87A0-0225EA8FCFD1}" destId="{4047B02F-3149-0349-8BF1-26279BA0A5A0}" srcOrd="5" destOrd="0" presId="urn:microsoft.com/office/officeart/2008/layout/LinedList"/>
    <dgm:cxn modelId="{C88E73CB-B0F4-3D4C-AB57-452C66FE9F2E}" type="presParOf" srcId="{4047B02F-3149-0349-8BF1-26279BA0A5A0}" destId="{409B5826-4AB9-CA49-800C-D15B1B0BEBEC}" srcOrd="0" destOrd="0" presId="urn:microsoft.com/office/officeart/2008/layout/LinedList"/>
    <dgm:cxn modelId="{95E349DE-C902-FA44-96B0-0CFDE31685AC}" type="presParOf" srcId="{4047B02F-3149-0349-8BF1-26279BA0A5A0}" destId="{F2DD8A2E-35E1-6942-8ED0-AEEA43EF1198}"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complex</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DF9F9D04-FBB7-874B-93A1-844B4E7034E6}">
      <dgm:prSet/>
      <dgm:spPr/>
      <dgm:t>
        <a:bodyPr/>
        <a:lstStyle/>
        <a:p>
          <a:pPr rtl="0"/>
          <a:r>
            <a:rPr lang="en-CA" dirty="0"/>
            <a:t>error-prone</a:t>
          </a:r>
        </a:p>
      </dgm:t>
    </dgm:pt>
    <dgm:pt modelId="{4B2C0ECC-3ABC-2A4E-97CC-9D4E4F3A103B}" type="parTrans" cxnId="{0A0C5008-0717-A846-8C43-E2D2DA06B7CC}">
      <dgm:prSet/>
      <dgm:spPr/>
      <dgm:t>
        <a:bodyPr/>
        <a:lstStyle/>
        <a:p>
          <a:endParaRPr lang="en-CA"/>
        </a:p>
      </dgm:t>
    </dgm:pt>
    <dgm:pt modelId="{18409326-6199-DC47-B62C-ADBD3A8B8633}" type="sibTrans" cxnId="{0A0C5008-0717-A846-8C43-E2D2DA06B7CC}">
      <dgm:prSet/>
      <dgm:spPr/>
      <dgm:t>
        <a:bodyPr/>
        <a:lstStyle/>
        <a:p>
          <a:endParaRPr lang="en-CA"/>
        </a:p>
      </dgm:t>
    </dgm:pt>
    <dgm:pt modelId="{D76FD2CC-BDC3-2743-9F08-9F44FEB531BF}">
      <dgm:prSet/>
      <dgm:spPr/>
      <dgm:t>
        <a:bodyPr/>
        <a:lstStyle/>
        <a:p>
          <a:pPr rtl="0"/>
          <a:r>
            <a:rPr lang="en-CA" dirty="0"/>
            <a:t>time-consuming</a:t>
          </a:r>
        </a:p>
      </dgm:t>
    </dgm:pt>
    <dgm:pt modelId="{A31E0354-4123-7448-943A-8794F539BE8F}" type="parTrans" cxnId="{DB97CEB2-15F6-3745-AB57-8F3FED577FC6}">
      <dgm:prSet/>
      <dgm:spPr/>
      <dgm:t>
        <a:bodyPr/>
        <a:lstStyle/>
        <a:p>
          <a:endParaRPr lang="en-CA"/>
        </a:p>
      </dgm:t>
    </dgm:pt>
    <dgm:pt modelId="{62C971E0-3BC8-9945-B200-FE755414DEB2}" type="sibTrans" cxnId="{DB97CEB2-15F6-3745-AB57-8F3FED577FC6}">
      <dgm:prSet/>
      <dgm:spPr/>
      <dgm:t>
        <a:bodyPr/>
        <a:lstStyle/>
        <a:p>
          <a:endParaRPr lang="en-CA"/>
        </a:p>
      </dgm:t>
    </dgm:pt>
    <dgm:pt modelId="{F655A9C8-621E-B942-864E-FA1299B8709B}" type="pres">
      <dgm:prSet presAssocID="{02BA0D8E-884F-D545-BFF7-95207C181DAB}" presName="vert0" presStyleCnt="0">
        <dgm:presLayoutVars>
          <dgm:dir/>
          <dgm:animOne val="branch"/>
          <dgm:animLvl val="lvl"/>
        </dgm:presLayoutVars>
      </dgm:prSet>
      <dgm:spPr/>
    </dgm:pt>
    <dgm:pt modelId="{D1EABF88-E73D-394F-B0A3-B2E8EE457019}" type="pres">
      <dgm:prSet presAssocID="{CF0461F7-EC97-BB41-A574-9C1E3009EACC}" presName="thickLine" presStyleLbl="alignNode1" presStyleIdx="0" presStyleCnt="3"/>
      <dgm:spPr/>
    </dgm:pt>
    <dgm:pt modelId="{78D9DA70-85D9-3B4A-9A27-97383802BF30}" type="pres">
      <dgm:prSet presAssocID="{CF0461F7-EC97-BB41-A574-9C1E3009EACC}" presName="horz1" presStyleCnt="0"/>
      <dgm:spPr/>
    </dgm:pt>
    <dgm:pt modelId="{1F1E3495-642B-A341-9253-447BBE7748D4}" type="pres">
      <dgm:prSet presAssocID="{CF0461F7-EC97-BB41-A574-9C1E3009EACC}" presName="tx1" presStyleLbl="revTx" presStyleIdx="0" presStyleCnt="3"/>
      <dgm:spPr/>
    </dgm:pt>
    <dgm:pt modelId="{D0A35B48-6D21-4245-9B42-935FCC95FBDF}" type="pres">
      <dgm:prSet presAssocID="{CF0461F7-EC97-BB41-A574-9C1E3009EACC}" presName="vert1" presStyleCnt="0"/>
      <dgm:spPr/>
    </dgm:pt>
    <dgm:pt modelId="{8A000500-2668-7844-8700-A9B43D47ED3D}" type="pres">
      <dgm:prSet presAssocID="{DF9F9D04-FBB7-874B-93A1-844B4E7034E6}" presName="thickLine" presStyleLbl="alignNode1" presStyleIdx="1" presStyleCnt="3"/>
      <dgm:spPr/>
    </dgm:pt>
    <dgm:pt modelId="{20AAD5B3-B707-1E4D-8818-D426450CFD52}" type="pres">
      <dgm:prSet presAssocID="{DF9F9D04-FBB7-874B-93A1-844B4E7034E6}" presName="horz1" presStyleCnt="0"/>
      <dgm:spPr/>
    </dgm:pt>
    <dgm:pt modelId="{64A725D7-2824-7E43-9B15-C9B71D32B5C5}" type="pres">
      <dgm:prSet presAssocID="{DF9F9D04-FBB7-874B-93A1-844B4E7034E6}" presName="tx1" presStyleLbl="revTx" presStyleIdx="1" presStyleCnt="3"/>
      <dgm:spPr/>
    </dgm:pt>
    <dgm:pt modelId="{DD6EF83F-C30B-5740-9475-ECD07ECF7D07}" type="pres">
      <dgm:prSet presAssocID="{DF9F9D04-FBB7-874B-93A1-844B4E7034E6}" presName="vert1" presStyleCnt="0"/>
      <dgm:spPr/>
    </dgm:pt>
    <dgm:pt modelId="{704F550B-02AE-DB4D-9186-D09862DAC2B4}" type="pres">
      <dgm:prSet presAssocID="{D76FD2CC-BDC3-2743-9F08-9F44FEB531BF}" presName="thickLine" presStyleLbl="alignNode1" presStyleIdx="2" presStyleCnt="3"/>
      <dgm:spPr/>
    </dgm:pt>
    <dgm:pt modelId="{9D22EA45-1A36-854E-A5BF-5648D781FF61}" type="pres">
      <dgm:prSet presAssocID="{D76FD2CC-BDC3-2743-9F08-9F44FEB531BF}" presName="horz1" presStyleCnt="0"/>
      <dgm:spPr/>
    </dgm:pt>
    <dgm:pt modelId="{6B33C3DC-D729-D548-A7FB-4337E072535B}" type="pres">
      <dgm:prSet presAssocID="{D76FD2CC-BDC3-2743-9F08-9F44FEB531BF}" presName="tx1" presStyleLbl="revTx" presStyleIdx="2" presStyleCnt="3"/>
      <dgm:spPr/>
    </dgm:pt>
    <dgm:pt modelId="{4C261DF1-9FB7-7F4A-9FF4-BD2CCB06CAC9}" type="pres">
      <dgm:prSet presAssocID="{D76FD2CC-BDC3-2743-9F08-9F44FEB531BF}" presName="vert1" presStyleCnt="0"/>
      <dgm:spPr/>
    </dgm:pt>
  </dgm:ptLst>
  <dgm:cxnLst>
    <dgm:cxn modelId="{0A0C5008-0717-A846-8C43-E2D2DA06B7CC}" srcId="{02BA0D8E-884F-D545-BFF7-95207C181DAB}" destId="{DF9F9D04-FBB7-874B-93A1-844B4E7034E6}" srcOrd="1" destOrd="0" parTransId="{4B2C0ECC-3ABC-2A4E-97CC-9D4E4F3A103B}" sibTransId="{18409326-6199-DC47-B62C-ADBD3A8B8633}"/>
    <dgm:cxn modelId="{0AB58122-2756-0440-AE66-CDB711344708}" type="presOf" srcId="{02BA0D8E-884F-D545-BFF7-95207C181DAB}" destId="{F655A9C8-621E-B942-864E-FA1299B8709B}" srcOrd="0" destOrd="0" presId="urn:microsoft.com/office/officeart/2008/layout/LinedList"/>
    <dgm:cxn modelId="{CE11EF26-596C-DB44-83B7-18A5CE0084E3}" type="presOf" srcId="{CF0461F7-EC97-BB41-A574-9C1E3009EACC}" destId="{1F1E3495-642B-A341-9253-447BBE7748D4}" srcOrd="0" destOrd="0" presId="urn:microsoft.com/office/officeart/2008/layout/LinedList"/>
    <dgm:cxn modelId="{C5156774-910B-D94E-97C5-794B8DEBC868}" type="presOf" srcId="{DF9F9D04-FBB7-874B-93A1-844B4E7034E6}" destId="{64A725D7-2824-7E43-9B15-C9B71D32B5C5}"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8FAC8AAA-8009-D34A-A6B8-59D1FDF9EAE4}" type="presOf" srcId="{D76FD2CC-BDC3-2743-9F08-9F44FEB531BF}" destId="{6B33C3DC-D729-D548-A7FB-4337E072535B}" srcOrd="0" destOrd="0" presId="urn:microsoft.com/office/officeart/2008/layout/LinedList"/>
    <dgm:cxn modelId="{DB97CEB2-15F6-3745-AB57-8F3FED577FC6}" srcId="{02BA0D8E-884F-D545-BFF7-95207C181DAB}" destId="{D76FD2CC-BDC3-2743-9F08-9F44FEB531BF}" srcOrd="2" destOrd="0" parTransId="{A31E0354-4123-7448-943A-8794F539BE8F}" sibTransId="{62C971E0-3BC8-9945-B200-FE755414DEB2}"/>
    <dgm:cxn modelId="{75D54B84-E1B6-1740-B3D6-C3CBC2A1594F}" type="presParOf" srcId="{F655A9C8-621E-B942-864E-FA1299B8709B}" destId="{D1EABF88-E73D-394F-B0A3-B2E8EE457019}" srcOrd="0" destOrd="0" presId="urn:microsoft.com/office/officeart/2008/layout/LinedList"/>
    <dgm:cxn modelId="{76A2CD6E-EA94-E546-A455-887521DF2DB5}" type="presParOf" srcId="{F655A9C8-621E-B942-864E-FA1299B8709B}" destId="{78D9DA70-85D9-3B4A-9A27-97383802BF30}" srcOrd="1" destOrd="0" presId="urn:microsoft.com/office/officeart/2008/layout/LinedList"/>
    <dgm:cxn modelId="{9BCE9DBF-DF55-E240-8B6F-EDB8A8F514E9}" type="presParOf" srcId="{78D9DA70-85D9-3B4A-9A27-97383802BF30}" destId="{1F1E3495-642B-A341-9253-447BBE7748D4}" srcOrd="0" destOrd="0" presId="urn:microsoft.com/office/officeart/2008/layout/LinedList"/>
    <dgm:cxn modelId="{3A72E9A0-ABAC-E445-93F7-D644FEC2CA35}" type="presParOf" srcId="{78D9DA70-85D9-3B4A-9A27-97383802BF30}" destId="{D0A35B48-6D21-4245-9B42-935FCC95FBDF}" srcOrd="1" destOrd="0" presId="urn:microsoft.com/office/officeart/2008/layout/LinedList"/>
    <dgm:cxn modelId="{30357704-9F40-8142-82A9-66E02E3CA3D3}" type="presParOf" srcId="{F655A9C8-621E-B942-864E-FA1299B8709B}" destId="{8A000500-2668-7844-8700-A9B43D47ED3D}" srcOrd="2" destOrd="0" presId="urn:microsoft.com/office/officeart/2008/layout/LinedList"/>
    <dgm:cxn modelId="{14466E03-E79B-024D-87C7-0F5F1AA2DBBE}" type="presParOf" srcId="{F655A9C8-621E-B942-864E-FA1299B8709B}" destId="{20AAD5B3-B707-1E4D-8818-D426450CFD52}" srcOrd="3" destOrd="0" presId="urn:microsoft.com/office/officeart/2008/layout/LinedList"/>
    <dgm:cxn modelId="{A3C5A5E9-C9E5-7F4E-AA8C-3286402E4F0B}" type="presParOf" srcId="{20AAD5B3-B707-1E4D-8818-D426450CFD52}" destId="{64A725D7-2824-7E43-9B15-C9B71D32B5C5}" srcOrd="0" destOrd="0" presId="urn:microsoft.com/office/officeart/2008/layout/LinedList"/>
    <dgm:cxn modelId="{5743E55E-607F-B043-B5B3-0C734B425ED1}" type="presParOf" srcId="{20AAD5B3-B707-1E4D-8818-D426450CFD52}" destId="{DD6EF83F-C30B-5740-9475-ECD07ECF7D07}" srcOrd="1" destOrd="0" presId="urn:microsoft.com/office/officeart/2008/layout/LinedList"/>
    <dgm:cxn modelId="{72DBEEC3-94FC-D34A-A6F4-0226279BEFEE}" type="presParOf" srcId="{F655A9C8-621E-B942-864E-FA1299B8709B}" destId="{704F550B-02AE-DB4D-9186-D09862DAC2B4}" srcOrd="4" destOrd="0" presId="urn:microsoft.com/office/officeart/2008/layout/LinedList"/>
    <dgm:cxn modelId="{911763D5-8431-9548-B284-8289027DC176}" type="presParOf" srcId="{F655A9C8-621E-B942-864E-FA1299B8709B}" destId="{9D22EA45-1A36-854E-A5BF-5648D781FF61}" srcOrd="5" destOrd="0" presId="urn:microsoft.com/office/officeart/2008/layout/LinedList"/>
    <dgm:cxn modelId="{3DE3B96F-3C94-D74D-B2AC-935EC9AAB77F}" type="presParOf" srcId="{9D22EA45-1A36-854E-A5BF-5648D781FF61}" destId="{6B33C3DC-D729-D548-A7FB-4337E072535B}" srcOrd="0" destOrd="0" presId="urn:microsoft.com/office/officeart/2008/layout/LinedList"/>
    <dgm:cxn modelId="{E0F1861E-4E99-F54C-B304-C0C542178C89}" type="presParOf" srcId="{9D22EA45-1A36-854E-A5BF-5648D781FF61}" destId="{4C261DF1-9FB7-7F4A-9FF4-BD2CCB06CAC9}"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64B8D75E-CAB1-2E4D-9DA1-4D41007FC926}" type="presOf" srcId="{5D62F0D9-F62E-470E-86C1-99BBA8E85072}" destId="{8A46F5DD-BBB3-4FA2-8F4F-67830FF58BA8}" srcOrd="0" destOrd="0" presId="urn:microsoft.com/office/officeart/2005/8/layout/cycle2"/>
    <dgm:cxn modelId="{5FA03277-5BF4-0442-B406-51E63A59AC7B}"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D8E9AF16-B681-1B4C-81B7-066B5944EFD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err="1"/>
            <a:t>ProFile’s</a:t>
          </a:r>
          <a:r>
            <a:rPr lang="en-CA" dirty="0"/>
            <a:t> INFO pag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3BF35A3A-D01C-F24D-BD95-7E79DF5E825D}" type="pres">
      <dgm:prSet presAssocID="{02BA0D8E-884F-D545-BFF7-95207C181DAB}" presName="vert0" presStyleCnt="0">
        <dgm:presLayoutVars>
          <dgm:dir/>
          <dgm:animOne val="branch"/>
          <dgm:animLvl val="lvl"/>
        </dgm:presLayoutVars>
      </dgm:prSet>
      <dgm:spPr/>
    </dgm:pt>
    <dgm:pt modelId="{FB7B9DC1-9A75-4B46-B3C2-2BFCD588B7A9}" type="pres">
      <dgm:prSet presAssocID="{CF0461F7-EC97-BB41-A574-9C1E3009EACC}" presName="thickLine" presStyleLbl="alignNode1" presStyleIdx="0" presStyleCnt="1"/>
      <dgm:spPr/>
    </dgm:pt>
    <dgm:pt modelId="{BF442A2A-9D15-CB49-ACD8-9DD7ED1FE7C3}" type="pres">
      <dgm:prSet presAssocID="{CF0461F7-EC97-BB41-A574-9C1E3009EACC}" presName="horz1" presStyleCnt="0"/>
      <dgm:spPr/>
    </dgm:pt>
    <dgm:pt modelId="{02C42A02-964D-1343-9281-C8817C4530B9}" type="pres">
      <dgm:prSet presAssocID="{CF0461F7-EC97-BB41-A574-9C1E3009EACC}" presName="tx1" presStyleLbl="revTx" presStyleIdx="0" presStyleCnt="1"/>
      <dgm:spPr/>
    </dgm:pt>
    <dgm:pt modelId="{382BB71E-065E-4943-93B9-5DD1A554958F}" type="pres">
      <dgm:prSet presAssocID="{CF0461F7-EC97-BB41-A574-9C1E3009EACC}" presName="vert1" presStyleCnt="0"/>
      <dgm:spPr/>
    </dgm:pt>
  </dgm:ptLst>
  <dgm:cxnLst>
    <dgm:cxn modelId="{674D6C8A-30E6-564D-9142-120BB4D947A9}" srcId="{02BA0D8E-884F-D545-BFF7-95207C181DAB}" destId="{CF0461F7-EC97-BB41-A574-9C1E3009EACC}" srcOrd="0" destOrd="0" parTransId="{B2C709E6-0566-4D4E-97EA-2EBE699D701F}" sibTransId="{ABC1C475-5434-1B41-BC48-ADC728C8CBF7}"/>
    <dgm:cxn modelId="{E0CDD6A9-9961-034A-B7A8-E8849E98F6BD}" type="presOf" srcId="{02BA0D8E-884F-D545-BFF7-95207C181DAB}" destId="{3BF35A3A-D01C-F24D-BD95-7E79DF5E825D}" srcOrd="0" destOrd="0" presId="urn:microsoft.com/office/officeart/2008/layout/LinedList"/>
    <dgm:cxn modelId="{A7428CFC-BC33-8842-96DC-C4D203F7FB91}" type="presOf" srcId="{CF0461F7-EC97-BB41-A574-9C1E3009EACC}" destId="{02C42A02-964D-1343-9281-C8817C4530B9}" srcOrd="0" destOrd="0" presId="urn:microsoft.com/office/officeart/2008/layout/LinedList"/>
    <dgm:cxn modelId="{E2C0D850-D90C-D340-A6CE-5E2CFAAF1632}" type="presParOf" srcId="{3BF35A3A-D01C-F24D-BD95-7E79DF5E825D}" destId="{FB7B9DC1-9A75-4B46-B3C2-2BFCD588B7A9}" srcOrd="0" destOrd="0" presId="urn:microsoft.com/office/officeart/2008/layout/LinedList"/>
    <dgm:cxn modelId="{48B0AA3F-A1C2-834C-9E26-46C493249C3A}" type="presParOf" srcId="{3BF35A3A-D01C-F24D-BD95-7E79DF5E825D}" destId="{BF442A2A-9D15-CB49-ACD8-9DD7ED1FE7C3}" srcOrd="1" destOrd="0" presId="urn:microsoft.com/office/officeart/2008/layout/LinedList"/>
    <dgm:cxn modelId="{B7A0F818-B08B-5142-870D-8FC84BE72795}" type="presParOf" srcId="{BF442A2A-9D15-CB49-ACD8-9DD7ED1FE7C3}" destId="{02C42A02-964D-1343-9281-C8817C4530B9}" srcOrd="0" destOrd="0" presId="urn:microsoft.com/office/officeart/2008/layout/LinedList"/>
    <dgm:cxn modelId="{57F267F1-60F2-0F43-B9AC-0D78F0C66DE7}" type="presParOf" srcId="{BF442A2A-9D15-CB49-ACD8-9DD7ED1FE7C3}" destId="{382BB71E-065E-4943-93B9-5DD1A554958F}"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2</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B2C9F9AB-2A8E-3742-8F8B-3F74637D80D5}" type="presOf" srcId="{5D62F0D9-F62E-470E-86C1-99BBA8E85072}" destId="{8A46F5DD-BBB3-4FA2-8F4F-67830FF58BA8}" srcOrd="0" destOrd="0" presId="urn:microsoft.com/office/officeart/2005/8/layout/cycle2"/>
    <dgm:cxn modelId="{0ABED1B0-900E-144A-853C-8F53A4828CF1}"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A812C98-2F0D-9C4A-B84B-8CE122920E33}"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Automatic calcul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42F81AB6-DEAB-9E4F-BC5E-BB6E9FCF1BA0}">
      <dgm:prSet/>
      <dgm:spPr/>
      <dgm:t>
        <a:bodyPr/>
        <a:lstStyle/>
        <a:p>
          <a:pPr rtl="0"/>
          <a:r>
            <a:rPr lang="en-CA" dirty="0"/>
            <a:t>Quick Data-entry</a:t>
          </a:r>
        </a:p>
      </dgm:t>
    </dgm:pt>
    <dgm:pt modelId="{62878126-AF33-E549-8E58-E222820DB661}" type="parTrans" cxnId="{5B86BF56-8A23-8846-9C98-6ABED56B0C0B}">
      <dgm:prSet/>
      <dgm:spPr/>
      <dgm:t>
        <a:bodyPr/>
        <a:lstStyle/>
        <a:p>
          <a:endParaRPr lang="en-CA"/>
        </a:p>
      </dgm:t>
    </dgm:pt>
    <dgm:pt modelId="{050E7FCB-952C-1547-8554-612206C64653}" type="sibTrans" cxnId="{5B86BF56-8A23-8846-9C98-6ABED56B0C0B}">
      <dgm:prSet/>
      <dgm:spPr/>
      <dgm:t>
        <a:bodyPr/>
        <a:lstStyle/>
        <a:p>
          <a:endParaRPr lang="en-CA"/>
        </a:p>
      </dgm:t>
    </dgm:pt>
    <dgm:pt modelId="{C20F18C9-26B1-6F47-B3AA-CFCAC1FDE96B}">
      <dgm:prSet/>
      <dgm:spPr/>
      <dgm:t>
        <a:bodyPr/>
        <a:lstStyle/>
        <a:p>
          <a:pPr rtl="0"/>
          <a:r>
            <a:rPr lang="en-CA" dirty="0"/>
            <a:t>T1 jacket prep</a:t>
          </a:r>
        </a:p>
      </dgm:t>
    </dgm:pt>
    <dgm:pt modelId="{77C678C3-B335-A24A-BE8C-ABBE133F5894}" type="parTrans" cxnId="{827D8C3A-8272-8D42-9E3E-C186EE9DD049}">
      <dgm:prSet/>
      <dgm:spPr/>
      <dgm:t>
        <a:bodyPr/>
        <a:lstStyle/>
        <a:p>
          <a:endParaRPr lang="en-CA"/>
        </a:p>
      </dgm:t>
    </dgm:pt>
    <dgm:pt modelId="{7FCD9E00-6157-9744-80DF-4E4C741998DC}" type="sibTrans" cxnId="{827D8C3A-8272-8D42-9E3E-C186EE9DD049}">
      <dgm:prSet/>
      <dgm:spPr/>
      <dgm:t>
        <a:bodyPr/>
        <a:lstStyle/>
        <a:p>
          <a:endParaRPr lang="en-CA"/>
        </a:p>
      </dgm:t>
    </dgm:pt>
    <dgm:pt modelId="{42029D2C-4D84-AE45-AF56-DD72F936B0C7}" type="pres">
      <dgm:prSet presAssocID="{02BA0D8E-884F-D545-BFF7-95207C181DAB}" presName="vert0" presStyleCnt="0">
        <dgm:presLayoutVars>
          <dgm:dir/>
          <dgm:animOne val="branch"/>
          <dgm:animLvl val="lvl"/>
        </dgm:presLayoutVars>
      </dgm:prSet>
      <dgm:spPr/>
    </dgm:pt>
    <dgm:pt modelId="{ABFB52CC-6F62-4D43-A69D-8F47E0D10969}" type="pres">
      <dgm:prSet presAssocID="{CF0461F7-EC97-BB41-A574-9C1E3009EACC}" presName="thickLine" presStyleLbl="alignNode1" presStyleIdx="0" presStyleCnt="3"/>
      <dgm:spPr/>
    </dgm:pt>
    <dgm:pt modelId="{71BDECCF-0C91-194A-AB6E-8FA869754429}" type="pres">
      <dgm:prSet presAssocID="{CF0461F7-EC97-BB41-A574-9C1E3009EACC}" presName="horz1" presStyleCnt="0"/>
      <dgm:spPr/>
    </dgm:pt>
    <dgm:pt modelId="{941E9028-73A6-6B43-B077-370817AA28B3}" type="pres">
      <dgm:prSet presAssocID="{CF0461F7-EC97-BB41-A574-9C1E3009EACC}" presName="tx1" presStyleLbl="revTx" presStyleIdx="0" presStyleCnt="3"/>
      <dgm:spPr/>
    </dgm:pt>
    <dgm:pt modelId="{7A1EF132-4BC8-1342-ABAF-500CBED8CB2A}" type="pres">
      <dgm:prSet presAssocID="{CF0461F7-EC97-BB41-A574-9C1E3009EACC}" presName="vert1" presStyleCnt="0"/>
      <dgm:spPr/>
    </dgm:pt>
    <dgm:pt modelId="{59C12E32-9006-4746-9451-1A090B9A77E5}" type="pres">
      <dgm:prSet presAssocID="{42F81AB6-DEAB-9E4F-BC5E-BB6E9FCF1BA0}" presName="thickLine" presStyleLbl="alignNode1" presStyleIdx="1" presStyleCnt="3"/>
      <dgm:spPr/>
    </dgm:pt>
    <dgm:pt modelId="{BB67733C-398F-6346-BB8B-48157977DA9D}" type="pres">
      <dgm:prSet presAssocID="{42F81AB6-DEAB-9E4F-BC5E-BB6E9FCF1BA0}" presName="horz1" presStyleCnt="0"/>
      <dgm:spPr/>
    </dgm:pt>
    <dgm:pt modelId="{452AC2EF-72BE-AA48-944C-FB225EB603CA}" type="pres">
      <dgm:prSet presAssocID="{42F81AB6-DEAB-9E4F-BC5E-BB6E9FCF1BA0}" presName="tx1" presStyleLbl="revTx" presStyleIdx="1" presStyleCnt="3"/>
      <dgm:spPr/>
    </dgm:pt>
    <dgm:pt modelId="{7182D7D2-9251-0046-AC1B-11E3FB26964A}" type="pres">
      <dgm:prSet presAssocID="{42F81AB6-DEAB-9E4F-BC5E-BB6E9FCF1BA0}" presName="vert1" presStyleCnt="0"/>
      <dgm:spPr/>
    </dgm:pt>
    <dgm:pt modelId="{ABF9A9A1-9B13-FB48-844E-FC1438481B57}" type="pres">
      <dgm:prSet presAssocID="{C20F18C9-26B1-6F47-B3AA-CFCAC1FDE96B}" presName="thickLine" presStyleLbl="alignNode1" presStyleIdx="2" presStyleCnt="3"/>
      <dgm:spPr/>
    </dgm:pt>
    <dgm:pt modelId="{77CDF1E9-317F-CB40-B434-F24D5F29C4ED}" type="pres">
      <dgm:prSet presAssocID="{C20F18C9-26B1-6F47-B3AA-CFCAC1FDE96B}" presName="horz1" presStyleCnt="0"/>
      <dgm:spPr/>
    </dgm:pt>
    <dgm:pt modelId="{8F72163B-2418-594D-83A3-B66CB7CC6860}" type="pres">
      <dgm:prSet presAssocID="{C20F18C9-26B1-6F47-B3AA-CFCAC1FDE96B}" presName="tx1" presStyleLbl="revTx" presStyleIdx="2" presStyleCnt="3"/>
      <dgm:spPr/>
    </dgm:pt>
    <dgm:pt modelId="{5CBD96DC-3713-204D-8D77-FDFD9AAF3567}" type="pres">
      <dgm:prSet presAssocID="{C20F18C9-26B1-6F47-B3AA-CFCAC1FDE96B}" presName="vert1" presStyleCnt="0"/>
      <dgm:spPr/>
    </dgm:pt>
  </dgm:ptLst>
  <dgm:cxnLst>
    <dgm:cxn modelId="{EF9E5A0C-4A68-5740-B397-D3C6C5A3F5EA}" type="presOf" srcId="{02BA0D8E-884F-D545-BFF7-95207C181DAB}" destId="{42029D2C-4D84-AE45-AF56-DD72F936B0C7}" srcOrd="0" destOrd="0" presId="urn:microsoft.com/office/officeart/2008/layout/LinedList"/>
    <dgm:cxn modelId="{5494C019-515C-234A-A92E-BAC35F0AC16C}" type="presOf" srcId="{42F81AB6-DEAB-9E4F-BC5E-BB6E9FCF1BA0}" destId="{452AC2EF-72BE-AA48-944C-FB225EB603CA}" srcOrd="0" destOrd="0" presId="urn:microsoft.com/office/officeart/2008/layout/LinedList"/>
    <dgm:cxn modelId="{827D8C3A-8272-8D42-9E3E-C186EE9DD049}" srcId="{02BA0D8E-884F-D545-BFF7-95207C181DAB}" destId="{C20F18C9-26B1-6F47-B3AA-CFCAC1FDE96B}" srcOrd="2" destOrd="0" parTransId="{77C678C3-B335-A24A-BE8C-ABBE133F5894}" sibTransId="{7FCD9E00-6157-9744-80DF-4E4C741998DC}"/>
    <dgm:cxn modelId="{5B86BF56-8A23-8846-9C98-6ABED56B0C0B}" srcId="{02BA0D8E-884F-D545-BFF7-95207C181DAB}" destId="{42F81AB6-DEAB-9E4F-BC5E-BB6E9FCF1BA0}" srcOrd="1" destOrd="0" parTransId="{62878126-AF33-E549-8E58-E222820DB661}" sibTransId="{050E7FCB-952C-1547-8554-612206C64653}"/>
    <dgm:cxn modelId="{674D6C8A-30E6-564D-9142-120BB4D947A9}" srcId="{02BA0D8E-884F-D545-BFF7-95207C181DAB}" destId="{CF0461F7-EC97-BB41-A574-9C1E3009EACC}" srcOrd="0" destOrd="0" parTransId="{B2C709E6-0566-4D4E-97EA-2EBE699D701F}" sibTransId="{ABC1C475-5434-1B41-BC48-ADC728C8CBF7}"/>
    <dgm:cxn modelId="{B45C19AD-EAE1-4848-A72D-549A5F65C561}" type="presOf" srcId="{CF0461F7-EC97-BB41-A574-9C1E3009EACC}" destId="{941E9028-73A6-6B43-B077-370817AA28B3}" srcOrd="0" destOrd="0" presId="urn:microsoft.com/office/officeart/2008/layout/LinedList"/>
    <dgm:cxn modelId="{73112BDA-1E3B-4140-8DF6-C3B4573A9BB9}" type="presOf" srcId="{C20F18C9-26B1-6F47-B3AA-CFCAC1FDE96B}" destId="{8F72163B-2418-594D-83A3-B66CB7CC6860}" srcOrd="0" destOrd="0" presId="urn:microsoft.com/office/officeart/2008/layout/LinedList"/>
    <dgm:cxn modelId="{C4DA3166-D040-B048-B359-940461EC55B3}" type="presParOf" srcId="{42029D2C-4D84-AE45-AF56-DD72F936B0C7}" destId="{ABFB52CC-6F62-4D43-A69D-8F47E0D10969}" srcOrd="0" destOrd="0" presId="urn:microsoft.com/office/officeart/2008/layout/LinedList"/>
    <dgm:cxn modelId="{FCD8C153-6FDD-DD49-B291-B52225FAA3ED}" type="presParOf" srcId="{42029D2C-4D84-AE45-AF56-DD72F936B0C7}" destId="{71BDECCF-0C91-194A-AB6E-8FA869754429}" srcOrd="1" destOrd="0" presId="urn:microsoft.com/office/officeart/2008/layout/LinedList"/>
    <dgm:cxn modelId="{621BC07C-77A4-2142-8D76-F611838559DB}" type="presParOf" srcId="{71BDECCF-0C91-194A-AB6E-8FA869754429}" destId="{941E9028-73A6-6B43-B077-370817AA28B3}" srcOrd="0" destOrd="0" presId="urn:microsoft.com/office/officeart/2008/layout/LinedList"/>
    <dgm:cxn modelId="{3B300340-CF34-3D40-94F0-15FEF68A4CEC}" type="presParOf" srcId="{71BDECCF-0C91-194A-AB6E-8FA869754429}" destId="{7A1EF132-4BC8-1342-ABAF-500CBED8CB2A}" srcOrd="1" destOrd="0" presId="urn:microsoft.com/office/officeart/2008/layout/LinedList"/>
    <dgm:cxn modelId="{4E57C66E-00E9-C94E-A6A5-564F387B91DE}" type="presParOf" srcId="{42029D2C-4D84-AE45-AF56-DD72F936B0C7}" destId="{59C12E32-9006-4746-9451-1A090B9A77E5}" srcOrd="2" destOrd="0" presId="urn:microsoft.com/office/officeart/2008/layout/LinedList"/>
    <dgm:cxn modelId="{8B22D2FF-C8F9-CC4C-82E6-D36C18B82474}" type="presParOf" srcId="{42029D2C-4D84-AE45-AF56-DD72F936B0C7}" destId="{BB67733C-398F-6346-BB8B-48157977DA9D}" srcOrd="3" destOrd="0" presId="urn:microsoft.com/office/officeart/2008/layout/LinedList"/>
    <dgm:cxn modelId="{83B117F5-C139-4749-86F4-384BD624B5DA}" type="presParOf" srcId="{BB67733C-398F-6346-BB8B-48157977DA9D}" destId="{452AC2EF-72BE-AA48-944C-FB225EB603CA}" srcOrd="0" destOrd="0" presId="urn:microsoft.com/office/officeart/2008/layout/LinedList"/>
    <dgm:cxn modelId="{E368DD2B-5575-914C-826D-890DC0A40AC4}" type="presParOf" srcId="{BB67733C-398F-6346-BB8B-48157977DA9D}" destId="{7182D7D2-9251-0046-AC1B-11E3FB26964A}" srcOrd="1" destOrd="0" presId="urn:microsoft.com/office/officeart/2008/layout/LinedList"/>
    <dgm:cxn modelId="{FDB64447-BCCB-6845-9840-DA1E409E9A73}" type="presParOf" srcId="{42029D2C-4D84-AE45-AF56-DD72F936B0C7}" destId="{ABF9A9A1-9B13-FB48-844E-FC1438481B57}" srcOrd="4" destOrd="0" presId="urn:microsoft.com/office/officeart/2008/layout/LinedList"/>
    <dgm:cxn modelId="{A733B96A-37D3-3142-A3EB-1EA61D641954}" type="presParOf" srcId="{42029D2C-4D84-AE45-AF56-DD72F936B0C7}" destId="{77CDF1E9-317F-CB40-B434-F24D5F29C4ED}" srcOrd="5" destOrd="0" presId="urn:microsoft.com/office/officeart/2008/layout/LinedList"/>
    <dgm:cxn modelId="{28C8E608-EBDB-BC40-A974-C38D6423828B}" type="presParOf" srcId="{77CDF1E9-317F-CB40-B434-F24D5F29C4ED}" destId="{8F72163B-2418-594D-83A3-B66CB7CC6860}" srcOrd="0" destOrd="0" presId="urn:microsoft.com/office/officeart/2008/layout/LinedList"/>
    <dgm:cxn modelId="{66688035-068D-464F-8ADE-A494647E9E88}" type="presParOf" srcId="{77CDF1E9-317F-CB40-B434-F24D5F29C4ED}" destId="{5CBD96DC-3713-204D-8D77-FDFD9AAF3567}"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0FE1F568-A68A-7048-ACFD-0CA2E09332F5}" type="presOf" srcId="{5D62F0D9-F62E-470E-86C1-99BBA8E85072}" destId="{8A46F5DD-BBB3-4FA2-8F4F-67830FF58BA8}" srcOrd="0" destOrd="0" presId="urn:microsoft.com/office/officeart/2005/8/layout/cycle2"/>
    <dgm:cxn modelId="{00B1FEB6-14FC-6E4A-8CDF-DF58F870B138}"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67A42486-9731-B942-85C2-3F584D39769B}"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paper VS ProFil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802692B1-D24F-664F-B70A-862E2DB4672E}" type="pres">
      <dgm:prSet presAssocID="{02BA0D8E-884F-D545-BFF7-95207C181DAB}" presName="vert0" presStyleCnt="0">
        <dgm:presLayoutVars>
          <dgm:dir/>
          <dgm:animOne val="branch"/>
          <dgm:animLvl val="lvl"/>
        </dgm:presLayoutVars>
      </dgm:prSet>
      <dgm:spPr/>
    </dgm:pt>
    <dgm:pt modelId="{1D732E33-A89D-2C42-8EDC-AC525E273B0E}" type="pres">
      <dgm:prSet presAssocID="{CF0461F7-EC97-BB41-A574-9C1E3009EACC}" presName="thickLine" presStyleLbl="alignNode1" presStyleIdx="0" presStyleCnt="1"/>
      <dgm:spPr/>
    </dgm:pt>
    <dgm:pt modelId="{BE430FBC-EBF9-DA44-A8C3-2882C5D195E1}" type="pres">
      <dgm:prSet presAssocID="{CF0461F7-EC97-BB41-A574-9C1E3009EACC}" presName="horz1" presStyleCnt="0"/>
      <dgm:spPr/>
    </dgm:pt>
    <dgm:pt modelId="{B3891668-8AC0-E54C-9259-428CCA2D6EC4}" type="pres">
      <dgm:prSet presAssocID="{CF0461F7-EC97-BB41-A574-9C1E3009EACC}" presName="tx1" presStyleLbl="revTx" presStyleIdx="0" presStyleCnt="1"/>
      <dgm:spPr/>
    </dgm:pt>
    <dgm:pt modelId="{6854B6F6-F5C2-F54B-808A-F3D6E541BDC3}" type="pres">
      <dgm:prSet presAssocID="{CF0461F7-EC97-BB41-A574-9C1E3009EACC}" presName="vert1" presStyleCnt="0"/>
      <dgm:spPr/>
    </dgm:pt>
  </dgm:ptLst>
  <dgm:cxnLst>
    <dgm:cxn modelId="{674D6C8A-30E6-564D-9142-120BB4D947A9}" srcId="{02BA0D8E-884F-D545-BFF7-95207C181DAB}" destId="{CF0461F7-EC97-BB41-A574-9C1E3009EACC}" srcOrd="0" destOrd="0" parTransId="{B2C709E6-0566-4D4E-97EA-2EBE699D701F}" sibTransId="{ABC1C475-5434-1B41-BC48-ADC728C8CBF7}"/>
    <dgm:cxn modelId="{AB8F99CF-4A2D-344E-BCFA-C5103B48C0C7}" type="presOf" srcId="{CF0461F7-EC97-BB41-A574-9C1E3009EACC}" destId="{B3891668-8AC0-E54C-9259-428CCA2D6EC4}" srcOrd="0" destOrd="0" presId="urn:microsoft.com/office/officeart/2008/layout/LinedList"/>
    <dgm:cxn modelId="{978DA4E8-DE9C-014B-B726-A8125A17F43C}" type="presOf" srcId="{02BA0D8E-884F-D545-BFF7-95207C181DAB}" destId="{802692B1-D24F-664F-B70A-862E2DB4672E}" srcOrd="0" destOrd="0" presId="urn:microsoft.com/office/officeart/2008/layout/LinedList"/>
    <dgm:cxn modelId="{A90A4E80-DC28-6043-855F-7D6BCAA7DB1C}" type="presParOf" srcId="{802692B1-D24F-664F-B70A-862E2DB4672E}" destId="{1D732E33-A89D-2C42-8EDC-AC525E273B0E}" srcOrd="0" destOrd="0" presId="urn:microsoft.com/office/officeart/2008/layout/LinedList"/>
    <dgm:cxn modelId="{C87B0C6E-BBD8-0F47-AE0C-884A9B5E0413}" type="presParOf" srcId="{802692B1-D24F-664F-B70A-862E2DB4672E}" destId="{BE430FBC-EBF9-DA44-A8C3-2882C5D195E1}" srcOrd="1" destOrd="0" presId="urn:microsoft.com/office/officeart/2008/layout/LinedList"/>
    <dgm:cxn modelId="{397F1121-7979-2F4A-AC7D-B8CD88223669}" type="presParOf" srcId="{BE430FBC-EBF9-DA44-A8C3-2882C5D195E1}" destId="{B3891668-8AC0-E54C-9259-428CCA2D6EC4}" srcOrd="0" destOrd="0" presId="urn:microsoft.com/office/officeart/2008/layout/LinedList"/>
    <dgm:cxn modelId="{2887906D-F807-644D-A56B-232746680906}" type="presParOf" srcId="{BE430FBC-EBF9-DA44-A8C3-2882C5D195E1}" destId="{6854B6F6-F5C2-F54B-808A-F3D6E541BDC3}"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6</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43C5C48-A3A7-894C-AFBF-327FB8DC19E8}" type="presOf" srcId="{9DF463DA-C321-47BB-A748-44B5D722BDE4}" destId="{03D7DCAF-0535-410C-B056-000B4ED11701}" srcOrd="0" destOrd="0" presId="urn:microsoft.com/office/officeart/2005/8/layout/cycle2"/>
    <dgm:cxn modelId="{C59363A2-BEE3-9543-B538-CB4BFED496C6}"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BE1ACBE-5FEC-C541-87B5-071371B969F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US" sz="2900" kern="1200" dirty="0"/>
            <a:t>Page 10</a:t>
          </a:r>
        </a:p>
      </dsp:txBody>
      <dsp:txXfrm>
        <a:off x="436926" y="196974"/>
        <a:ext cx="949190" cy="94919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E0D0AC-9F36-EC43-BD72-FB6D5F9A20CC}">
      <dsp:nvSpPr>
        <dsp:cNvPr id="0" name=""/>
        <dsp:cNvSpPr/>
      </dsp:nvSpPr>
      <dsp:spPr>
        <a:xfrm>
          <a:off x="0" y="2102"/>
          <a:ext cx="3657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B6D64D1-2C0E-1F41-A68E-613348A790E8}">
      <dsp:nvSpPr>
        <dsp:cNvPr id="0" name=""/>
        <dsp:cNvSpPr/>
      </dsp:nvSpPr>
      <dsp:spPr>
        <a:xfrm>
          <a:off x="0" y="2102"/>
          <a:ext cx="3657600" cy="14336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a tax practitioner approach</a:t>
          </a:r>
        </a:p>
      </dsp:txBody>
      <dsp:txXfrm>
        <a:off x="0" y="2102"/>
        <a:ext cx="3657600" cy="1433647"/>
      </dsp:txXfrm>
    </dsp:sp>
    <dsp:sp modelId="{52167793-1FD0-F14F-8B31-74874924A2CE}">
      <dsp:nvSpPr>
        <dsp:cNvPr id="0" name=""/>
        <dsp:cNvSpPr/>
      </dsp:nvSpPr>
      <dsp:spPr>
        <a:xfrm>
          <a:off x="0" y="1435749"/>
          <a:ext cx="3657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E537049-EAFE-564A-9514-5B420DE609F0}">
      <dsp:nvSpPr>
        <dsp:cNvPr id="0" name=""/>
        <dsp:cNvSpPr/>
      </dsp:nvSpPr>
      <dsp:spPr>
        <a:xfrm>
          <a:off x="0" y="1435749"/>
          <a:ext cx="3657600" cy="14336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Authorize a Rep</a:t>
          </a:r>
        </a:p>
      </dsp:txBody>
      <dsp:txXfrm>
        <a:off x="0" y="1435749"/>
        <a:ext cx="3657600" cy="1433647"/>
      </dsp:txXfrm>
    </dsp:sp>
    <dsp:sp modelId="{AD46E925-F04D-AC4F-8A42-65E2E63D96D5}">
      <dsp:nvSpPr>
        <dsp:cNvPr id="0" name=""/>
        <dsp:cNvSpPr/>
      </dsp:nvSpPr>
      <dsp:spPr>
        <a:xfrm>
          <a:off x="0" y="2869397"/>
          <a:ext cx="3657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D5A9215-123B-FC47-9A8E-286C763EE087}">
      <dsp:nvSpPr>
        <dsp:cNvPr id="0" name=""/>
        <dsp:cNvSpPr/>
      </dsp:nvSpPr>
      <dsp:spPr>
        <a:xfrm>
          <a:off x="0" y="2869397"/>
          <a:ext cx="3657600" cy="14336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spousal return</a:t>
          </a:r>
        </a:p>
      </dsp:txBody>
      <dsp:txXfrm>
        <a:off x="0" y="2869397"/>
        <a:ext cx="3657600" cy="143364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a:t>page 21</a:t>
          </a:r>
          <a:endParaRPr lang="en-US" sz="3000" kern="1200" dirty="0"/>
        </a:p>
      </dsp:txBody>
      <dsp:txXfrm>
        <a:off x="436926" y="196974"/>
        <a:ext cx="949190" cy="94919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27ABC-353D-1A4B-A6DF-F9125F618410}">
      <dsp:nvSpPr>
        <dsp:cNvPr id="0" name=""/>
        <dsp:cNvSpPr/>
      </dsp:nvSpPr>
      <dsp:spPr>
        <a:xfrm>
          <a:off x="0" y="1116"/>
          <a:ext cx="2937633"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FCA25D9-0BC9-C347-8083-939EC9F800EF}">
      <dsp:nvSpPr>
        <dsp:cNvPr id="0" name=""/>
        <dsp:cNvSpPr/>
      </dsp:nvSpPr>
      <dsp:spPr>
        <a:xfrm>
          <a:off x="0" y="1116"/>
          <a:ext cx="2937633" cy="7612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CA" sz="3200" kern="1200" dirty="0"/>
            <a:t>data entry</a:t>
          </a:r>
        </a:p>
      </dsp:txBody>
      <dsp:txXfrm>
        <a:off x="0" y="1116"/>
        <a:ext cx="2937633" cy="761255"/>
      </dsp:txXfrm>
    </dsp:sp>
    <dsp:sp modelId="{9CE7041A-FEDA-D849-9753-9DA3F5AC8D7A}">
      <dsp:nvSpPr>
        <dsp:cNvPr id="0" name=""/>
        <dsp:cNvSpPr/>
      </dsp:nvSpPr>
      <dsp:spPr>
        <a:xfrm>
          <a:off x="0" y="762372"/>
          <a:ext cx="2937633"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EA61A54-C77E-AB47-AA54-E393ACAF4402}">
      <dsp:nvSpPr>
        <dsp:cNvPr id="0" name=""/>
        <dsp:cNvSpPr/>
      </dsp:nvSpPr>
      <dsp:spPr>
        <a:xfrm>
          <a:off x="0" y="762372"/>
          <a:ext cx="2937633" cy="7612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CA" sz="3200" kern="1200" dirty="0"/>
            <a:t>spousal toggle</a:t>
          </a:r>
        </a:p>
      </dsp:txBody>
      <dsp:txXfrm>
        <a:off x="0" y="762372"/>
        <a:ext cx="2937633" cy="761255"/>
      </dsp:txXfrm>
    </dsp:sp>
    <dsp:sp modelId="{94C8C9B6-E016-A645-A6B4-CAC28032D7A0}">
      <dsp:nvSpPr>
        <dsp:cNvPr id="0" name=""/>
        <dsp:cNvSpPr/>
      </dsp:nvSpPr>
      <dsp:spPr>
        <a:xfrm>
          <a:off x="0" y="1523627"/>
          <a:ext cx="2937633"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67DCFD7-9E7D-384B-ABFA-35CB3F1627F5}">
      <dsp:nvSpPr>
        <dsp:cNvPr id="0" name=""/>
        <dsp:cNvSpPr/>
      </dsp:nvSpPr>
      <dsp:spPr>
        <a:xfrm>
          <a:off x="0" y="1523627"/>
          <a:ext cx="2937633" cy="7612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CA" sz="3200" kern="1200" dirty="0"/>
            <a:t>slip summary</a:t>
          </a:r>
        </a:p>
      </dsp:txBody>
      <dsp:txXfrm>
        <a:off x="0" y="1523627"/>
        <a:ext cx="2937633" cy="76125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1768122"/>
          <a:ext cx="2115755"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CA" sz="2800" kern="1200" dirty="0"/>
            <a:t>the auditor</a:t>
          </a:r>
          <a:endParaRPr lang="en-US" sz="2800" kern="1200" dirty="0"/>
        </a:p>
      </dsp:txBody>
      <dsp:txXfrm>
        <a:off x="59399" y="1827521"/>
        <a:ext cx="1996957" cy="1098002"/>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24</a:t>
          </a:r>
        </a:p>
      </dsp:txBody>
      <dsp:txXfrm>
        <a:off x="436926" y="196974"/>
        <a:ext cx="949190" cy="94919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26</a:t>
          </a:r>
        </a:p>
      </dsp:txBody>
      <dsp:txXfrm>
        <a:off x="436926" y="196974"/>
        <a:ext cx="949190" cy="94919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E70E6-18FD-D04F-8E24-08A47FF2AC80}">
      <dsp:nvSpPr>
        <dsp:cNvPr id="0" name=""/>
        <dsp:cNvSpPr/>
      </dsp:nvSpPr>
      <dsp:spPr>
        <a:xfrm>
          <a:off x="0" y="1227"/>
          <a:ext cx="283368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4D982DE-2C81-E349-A4EB-7A1CB44D7961}">
      <dsp:nvSpPr>
        <dsp:cNvPr id="0" name=""/>
        <dsp:cNvSpPr/>
      </dsp:nvSpPr>
      <dsp:spPr>
        <a:xfrm>
          <a:off x="0" y="1227"/>
          <a:ext cx="2833687" cy="837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rtl="0">
            <a:lnSpc>
              <a:spcPct val="90000"/>
            </a:lnSpc>
            <a:spcBef>
              <a:spcPct val="0"/>
            </a:spcBef>
            <a:spcAft>
              <a:spcPct val="35000"/>
            </a:spcAft>
            <a:buNone/>
          </a:pPr>
          <a:r>
            <a:rPr lang="en-CA" sz="4000" kern="1200" dirty="0"/>
            <a:t>print / pdf</a:t>
          </a:r>
        </a:p>
      </dsp:txBody>
      <dsp:txXfrm>
        <a:off x="0" y="1227"/>
        <a:ext cx="2833687" cy="837381"/>
      </dsp:txXfrm>
    </dsp:sp>
    <dsp:sp modelId="{A926D31E-BAE7-C048-8334-916A86F7C845}">
      <dsp:nvSpPr>
        <dsp:cNvPr id="0" name=""/>
        <dsp:cNvSpPr/>
      </dsp:nvSpPr>
      <dsp:spPr>
        <a:xfrm>
          <a:off x="0" y="838609"/>
          <a:ext cx="283368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9F61D32-B374-884C-A69C-CD5F34585162}">
      <dsp:nvSpPr>
        <dsp:cNvPr id="0" name=""/>
        <dsp:cNvSpPr/>
      </dsp:nvSpPr>
      <dsp:spPr>
        <a:xfrm>
          <a:off x="0" y="838609"/>
          <a:ext cx="2833687" cy="837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rtl="0">
            <a:lnSpc>
              <a:spcPct val="90000"/>
            </a:lnSpc>
            <a:spcBef>
              <a:spcPct val="0"/>
            </a:spcBef>
            <a:spcAft>
              <a:spcPct val="35000"/>
            </a:spcAft>
            <a:buNone/>
          </a:pPr>
          <a:r>
            <a:rPr lang="en-CA" sz="4000" kern="1200" dirty="0"/>
            <a:t>t183</a:t>
          </a:r>
        </a:p>
      </dsp:txBody>
      <dsp:txXfrm>
        <a:off x="0" y="838609"/>
        <a:ext cx="2833687" cy="837381"/>
      </dsp:txXfrm>
    </dsp:sp>
    <dsp:sp modelId="{61B4140E-D24F-744B-888E-E56439429103}">
      <dsp:nvSpPr>
        <dsp:cNvPr id="0" name=""/>
        <dsp:cNvSpPr/>
      </dsp:nvSpPr>
      <dsp:spPr>
        <a:xfrm>
          <a:off x="0" y="1675990"/>
          <a:ext cx="283368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09B5826-4AB9-CA49-800C-D15B1B0BEBEC}">
      <dsp:nvSpPr>
        <dsp:cNvPr id="0" name=""/>
        <dsp:cNvSpPr/>
      </dsp:nvSpPr>
      <dsp:spPr>
        <a:xfrm>
          <a:off x="0" y="1675990"/>
          <a:ext cx="2833687" cy="837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rtl="0">
            <a:lnSpc>
              <a:spcPct val="90000"/>
            </a:lnSpc>
            <a:spcBef>
              <a:spcPct val="0"/>
            </a:spcBef>
            <a:spcAft>
              <a:spcPct val="35000"/>
            </a:spcAft>
            <a:buNone/>
          </a:pPr>
          <a:r>
            <a:rPr lang="en-CA" sz="4000" kern="1200" dirty="0"/>
            <a:t>EFILE</a:t>
          </a:r>
        </a:p>
      </dsp:txBody>
      <dsp:txXfrm>
        <a:off x="0" y="1675990"/>
        <a:ext cx="2833687" cy="8373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EABF88-E73D-394F-B0A3-B2E8EE457019}">
      <dsp:nvSpPr>
        <dsp:cNvPr id="0" name=""/>
        <dsp:cNvSpPr/>
      </dsp:nvSpPr>
      <dsp:spPr>
        <a:xfrm>
          <a:off x="0" y="2350"/>
          <a:ext cx="236219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F1E3495-642B-A341-9253-447BBE7748D4}">
      <dsp:nvSpPr>
        <dsp:cNvPr id="0" name=""/>
        <dsp:cNvSpPr/>
      </dsp:nvSpPr>
      <dsp:spPr>
        <a:xfrm>
          <a:off x="0" y="2350"/>
          <a:ext cx="2362199" cy="1602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rtl="0">
            <a:lnSpc>
              <a:spcPct val="90000"/>
            </a:lnSpc>
            <a:spcBef>
              <a:spcPct val="0"/>
            </a:spcBef>
            <a:spcAft>
              <a:spcPct val="35000"/>
            </a:spcAft>
            <a:buNone/>
          </a:pPr>
          <a:r>
            <a:rPr lang="en-CA" sz="3400" kern="1200" dirty="0"/>
            <a:t>complex</a:t>
          </a:r>
        </a:p>
      </dsp:txBody>
      <dsp:txXfrm>
        <a:off x="0" y="2350"/>
        <a:ext cx="2362199" cy="1602854"/>
      </dsp:txXfrm>
    </dsp:sp>
    <dsp:sp modelId="{8A000500-2668-7844-8700-A9B43D47ED3D}">
      <dsp:nvSpPr>
        <dsp:cNvPr id="0" name=""/>
        <dsp:cNvSpPr/>
      </dsp:nvSpPr>
      <dsp:spPr>
        <a:xfrm>
          <a:off x="0" y="1605205"/>
          <a:ext cx="236219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4A725D7-2824-7E43-9B15-C9B71D32B5C5}">
      <dsp:nvSpPr>
        <dsp:cNvPr id="0" name=""/>
        <dsp:cNvSpPr/>
      </dsp:nvSpPr>
      <dsp:spPr>
        <a:xfrm>
          <a:off x="0" y="1605205"/>
          <a:ext cx="2362199" cy="1602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rtl="0">
            <a:lnSpc>
              <a:spcPct val="90000"/>
            </a:lnSpc>
            <a:spcBef>
              <a:spcPct val="0"/>
            </a:spcBef>
            <a:spcAft>
              <a:spcPct val="35000"/>
            </a:spcAft>
            <a:buNone/>
          </a:pPr>
          <a:r>
            <a:rPr lang="en-CA" sz="3400" kern="1200" dirty="0"/>
            <a:t>error-prone</a:t>
          </a:r>
        </a:p>
      </dsp:txBody>
      <dsp:txXfrm>
        <a:off x="0" y="1605205"/>
        <a:ext cx="2362199" cy="1602854"/>
      </dsp:txXfrm>
    </dsp:sp>
    <dsp:sp modelId="{704F550B-02AE-DB4D-9186-D09862DAC2B4}">
      <dsp:nvSpPr>
        <dsp:cNvPr id="0" name=""/>
        <dsp:cNvSpPr/>
      </dsp:nvSpPr>
      <dsp:spPr>
        <a:xfrm>
          <a:off x="0" y="3208059"/>
          <a:ext cx="236219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B33C3DC-D729-D548-A7FB-4337E072535B}">
      <dsp:nvSpPr>
        <dsp:cNvPr id="0" name=""/>
        <dsp:cNvSpPr/>
      </dsp:nvSpPr>
      <dsp:spPr>
        <a:xfrm>
          <a:off x="0" y="3208059"/>
          <a:ext cx="2362199" cy="1602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rtl="0">
            <a:lnSpc>
              <a:spcPct val="90000"/>
            </a:lnSpc>
            <a:spcBef>
              <a:spcPct val="0"/>
            </a:spcBef>
            <a:spcAft>
              <a:spcPct val="35000"/>
            </a:spcAft>
            <a:buNone/>
          </a:pPr>
          <a:r>
            <a:rPr lang="en-CA" sz="3400" kern="1200" dirty="0"/>
            <a:t>time-consuming</a:t>
          </a:r>
        </a:p>
      </dsp:txBody>
      <dsp:txXfrm>
        <a:off x="0" y="3208059"/>
        <a:ext cx="2362199" cy="16028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US" sz="2900" kern="1200" dirty="0"/>
            <a:t>Page 9</a:t>
          </a:r>
        </a:p>
      </dsp:txBody>
      <dsp:txXfrm>
        <a:off x="436926" y="196974"/>
        <a:ext cx="949190" cy="9491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7B9DC1-9A75-4B46-B3C2-2BFCD588B7A9}">
      <dsp:nvSpPr>
        <dsp:cNvPr id="0" name=""/>
        <dsp:cNvSpPr/>
      </dsp:nvSpPr>
      <dsp:spPr>
        <a:xfrm>
          <a:off x="0" y="0"/>
          <a:ext cx="3427413"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02C42A02-964D-1343-9281-C8817C4530B9}">
      <dsp:nvSpPr>
        <dsp:cNvPr id="0" name=""/>
        <dsp:cNvSpPr/>
      </dsp:nvSpPr>
      <dsp:spPr>
        <a:xfrm>
          <a:off x="0" y="0"/>
          <a:ext cx="3427413" cy="106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rtl="0">
            <a:lnSpc>
              <a:spcPct val="90000"/>
            </a:lnSpc>
            <a:spcBef>
              <a:spcPct val="0"/>
            </a:spcBef>
            <a:spcAft>
              <a:spcPct val="35000"/>
            </a:spcAft>
            <a:buNone/>
          </a:pPr>
          <a:r>
            <a:rPr lang="en-CA" sz="3100" kern="1200" dirty="0" err="1"/>
            <a:t>ProFile’s</a:t>
          </a:r>
          <a:r>
            <a:rPr lang="en-CA" sz="3100" kern="1200" dirty="0"/>
            <a:t> INFO page</a:t>
          </a:r>
        </a:p>
      </dsp:txBody>
      <dsp:txXfrm>
        <a:off x="0" y="0"/>
        <a:ext cx="3427413" cy="10668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2</a:t>
          </a:r>
        </a:p>
      </dsp:txBody>
      <dsp:txXfrm>
        <a:off x="436926" y="196974"/>
        <a:ext cx="949190" cy="9491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FB52CC-6F62-4D43-A69D-8F47E0D10969}">
      <dsp:nvSpPr>
        <dsp:cNvPr id="0" name=""/>
        <dsp:cNvSpPr/>
      </dsp:nvSpPr>
      <dsp:spPr>
        <a:xfrm>
          <a:off x="0" y="1839"/>
          <a:ext cx="263207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41E9028-73A6-6B43-B077-370817AA28B3}">
      <dsp:nvSpPr>
        <dsp:cNvPr id="0" name=""/>
        <dsp:cNvSpPr/>
      </dsp:nvSpPr>
      <dsp:spPr>
        <a:xfrm>
          <a:off x="0" y="1839"/>
          <a:ext cx="2632075" cy="1254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rtl="0">
            <a:lnSpc>
              <a:spcPct val="90000"/>
            </a:lnSpc>
            <a:spcBef>
              <a:spcPct val="0"/>
            </a:spcBef>
            <a:spcAft>
              <a:spcPct val="35000"/>
            </a:spcAft>
            <a:buNone/>
          </a:pPr>
          <a:r>
            <a:rPr lang="en-CA" sz="3700" kern="1200" dirty="0"/>
            <a:t>Automatic calculation</a:t>
          </a:r>
        </a:p>
      </dsp:txBody>
      <dsp:txXfrm>
        <a:off x="0" y="1839"/>
        <a:ext cx="2632075" cy="1254693"/>
      </dsp:txXfrm>
    </dsp:sp>
    <dsp:sp modelId="{59C12E32-9006-4746-9451-1A090B9A77E5}">
      <dsp:nvSpPr>
        <dsp:cNvPr id="0" name=""/>
        <dsp:cNvSpPr/>
      </dsp:nvSpPr>
      <dsp:spPr>
        <a:xfrm>
          <a:off x="0" y="1256532"/>
          <a:ext cx="263207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52AC2EF-72BE-AA48-944C-FB225EB603CA}">
      <dsp:nvSpPr>
        <dsp:cNvPr id="0" name=""/>
        <dsp:cNvSpPr/>
      </dsp:nvSpPr>
      <dsp:spPr>
        <a:xfrm>
          <a:off x="0" y="1256532"/>
          <a:ext cx="2632075" cy="1254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rtl="0">
            <a:lnSpc>
              <a:spcPct val="90000"/>
            </a:lnSpc>
            <a:spcBef>
              <a:spcPct val="0"/>
            </a:spcBef>
            <a:spcAft>
              <a:spcPct val="35000"/>
            </a:spcAft>
            <a:buNone/>
          </a:pPr>
          <a:r>
            <a:rPr lang="en-CA" sz="3700" kern="1200" dirty="0"/>
            <a:t>Quick Data-entry</a:t>
          </a:r>
        </a:p>
      </dsp:txBody>
      <dsp:txXfrm>
        <a:off x="0" y="1256532"/>
        <a:ext cx="2632075" cy="1254693"/>
      </dsp:txXfrm>
    </dsp:sp>
    <dsp:sp modelId="{ABF9A9A1-9B13-FB48-844E-FC1438481B57}">
      <dsp:nvSpPr>
        <dsp:cNvPr id="0" name=""/>
        <dsp:cNvSpPr/>
      </dsp:nvSpPr>
      <dsp:spPr>
        <a:xfrm>
          <a:off x="0" y="2511226"/>
          <a:ext cx="263207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F72163B-2418-594D-83A3-B66CB7CC6860}">
      <dsp:nvSpPr>
        <dsp:cNvPr id="0" name=""/>
        <dsp:cNvSpPr/>
      </dsp:nvSpPr>
      <dsp:spPr>
        <a:xfrm>
          <a:off x="0" y="2511226"/>
          <a:ext cx="2632075" cy="1254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rtl="0">
            <a:lnSpc>
              <a:spcPct val="90000"/>
            </a:lnSpc>
            <a:spcBef>
              <a:spcPct val="0"/>
            </a:spcBef>
            <a:spcAft>
              <a:spcPct val="35000"/>
            </a:spcAft>
            <a:buNone/>
          </a:pPr>
          <a:r>
            <a:rPr lang="en-CA" sz="3700" kern="1200" dirty="0"/>
            <a:t>T1 jacket prep</a:t>
          </a:r>
        </a:p>
      </dsp:txBody>
      <dsp:txXfrm>
        <a:off x="0" y="2511226"/>
        <a:ext cx="2632075" cy="125469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5</a:t>
          </a:r>
        </a:p>
      </dsp:txBody>
      <dsp:txXfrm>
        <a:off x="436926" y="196974"/>
        <a:ext cx="949190" cy="9491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732E33-A89D-2C42-8EDC-AC525E273B0E}">
      <dsp:nvSpPr>
        <dsp:cNvPr id="0" name=""/>
        <dsp:cNvSpPr/>
      </dsp:nvSpPr>
      <dsp:spPr>
        <a:xfrm>
          <a:off x="0" y="0"/>
          <a:ext cx="266858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3891668-8AC0-E54C-9259-428CCA2D6EC4}">
      <dsp:nvSpPr>
        <dsp:cNvPr id="0" name=""/>
        <dsp:cNvSpPr/>
      </dsp:nvSpPr>
      <dsp:spPr>
        <a:xfrm>
          <a:off x="0" y="0"/>
          <a:ext cx="2668587" cy="3711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0" tIns="209550" rIns="209550" bIns="209550" numCol="1" spcCol="1270" anchor="t" anchorCtr="0">
          <a:noAutofit/>
        </a:bodyPr>
        <a:lstStyle/>
        <a:p>
          <a:pPr marL="0" lvl="0" indent="0" algn="l" defTabSz="2444750" rtl="0">
            <a:lnSpc>
              <a:spcPct val="90000"/>
            </a:lnSpc>
            <a:spcBef>
              <a:spcPct val="0"/>
            </a:spcBef>
            <a:spcAft>
              <a:spcPct val="35000"/>
            </a:spcAft>
            <a:buNone/>
          </a:pPr>
          <a:r>
            <a:rPr lang="en-CA" sz="5500" kern="1200" dirty="0"/>
            <a:t>paper VS ProFile</a:t>
          </a:r>
        </a:p>
      </dsp:txBody>
      <dsp:txXfrm>
        <a:off x="0" y="0"/>
        <a:ext cx="2668587" cy="371106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6</a:t>
          </a:r>
        </a:p>
      </dsp:txBody>
      <dsp:txXfrm>
        <a:off x="436926" y="196974"/>
        <a:ext cx="949190" cy="949190"/>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20-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26 and mention </a:t>
            </a:r>
            <a:r>
              <a:rPr lang="en-US" sz="1200" kern="1200" baseline="0" dirty="0">
                <a:solidFill>
                  <a:schemeClr val="tx1"/>
                </a:solidFill>
                <a:effectLst/>
                <a:latin typeface="+mn-lt"/>
                <a:ea typeface="+mn-ea"/>
                <a:cs typeface="+mn-cs"/>
              </a:rPr>
              <a:t>how you can then Print/PDF the T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Discuss the importance of a T183</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Describe how to EFILE the returns</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1111960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7 and explain that a T1 is a personal tax return (just as a T2 is a corporate return and a T3 is a trust return)</a:t>
            </a:r>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365624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0 and describe the complexity of hand-written T1s. You need:</a:t>
            </a:r>
          </a:p>
          <a:p>
            <a:r>
              <a:rPr lang="en-US" baseline="0" dirty="0"/>
              <a:t>To know which forms to complete</a:t>
            </a:r>
          </a:p>
          <a:p>
            <a:r>
              <a:rPr lang="en-US" baseline="0" dirty="0"/>
              <a:t>To make complex calculations</a:t>
            </a:r>
          </a:p>
          <a:p>
            <a:r>
              <a:rPr lang="en-US" baseline="0" dirty="0"/>
              <a:t>To transfer amounts manually amongst various form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1604734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troduce ProFile prep and describe how all contact info goes on the INFO page (Page 9)</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707991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2 and describe how you use Forms and Schedules to fill out slips</a:t>
            </a:r>
          </a:p>
          <a:p>
            <a:r>
              <a:rPr lang="en-US" baseline="0" dirty="0"/>
              <a:t>And that ProFile then </a:t>
            </a:r>
          </a:p>
          <a:p>
            <a:pPr marL="171450" indent="-171450">
              <a:buFontTx/>
              <a:buChar char="-"/>
            </a:pPr>
            <a:r>
              <a:rPr lang="en-US" baseline="0" dirty="0"/>
              <a:t>Makes all necessary calculations</a:t>
            </a:r>
          </a:p>
          <a:p>
            <a:pPr marL="171450" indent="-171450">
              <a:buFontTx/>
              <a:buChar char="-"/>
            </a:pPr>
            <a:r>
              <a:rPr lang="en-US" baseline="0" dirty="0"/>
              <a:t>Transfers the necessary amounts to the required forms</a:t>
            </a:r>
          </a:p>
          <a:p>
            <a:pPr marL="171450" indent="-171450">
              <a:buFontTx/>
              <a:buChar char="-"/>
            </a:pPr>
            <a:r>
              <a:rPr lang="en-US" baseline="0" dirty="0"/>
              <a:t>And finally transfers everything to the T1 Jacket</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7528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5 for conclusions</a:t>
            </a:r>
          </a:p>
          <a:p>
            <a:endParaRPr lang="en-US" baseline="0" dirty="0"/>
          </a:p>
          <a:p>
            <a:r>
              <a:rPr lang="en-US" sz="1200" kern="1200" dirty="0">
                <a:solidFill>
                  <a:schemeClr val="tx1"/>
                </a:solidFill>
                <a:effectLst/>
                <a:latin typeface="+mn-lt"/>
                <a:ea typeface="+mn-ea"/>
                <a:cs typeface="+mn-cs"/>
              </a:rPr>
              <a:t>ProFile—at least with a basic T1—provides guided tax preparation that requires you to simply enter information on the required forms and slip (in this example T4 and T2202) and ProFile will then complete the T1 based on those entries. </a:t>
            </a:r>
            <a:endParaRPr lang="en-US" dirty="0"/>
          </a:p>
          <a:p>
            <a:r>
              <a:rPr lang="en-US" sz="1200" kern="1200" dirty="0">
                <a:solidFill>
                  <a:schemeClr val="tx1"/>
                </a:solidFill>
                <a:effectLst/>
                <a:latin typeface="+mn-lt"/>
                <a:ea typeface="+mn-ea"/>
                <a:cs typeface="+mn-cs"/>
              </a:rPr>
              <a:t>Contrast that with the same hand-written example, and the benefits gained by using tax-preparation software are immediately evident.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39204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6 and discuss how a tax practitioner goes about preparing a T1—In this example, a spousal T1</a:t>
            </a:r>
          </a:p>
          <a:p>
            <a:r>
              <a:rPr lang="en-US" baseline="0" dirty="0"/>
              <a:t>Go to pages 17 and discuss the T4s, T5, and donations </a:t>
            </a:r>
          </a:p>
          <a:p>
            <a:r>
              <a:rPr lang="en-US" baseline="0" dirty="0"/>
              <a:t>And then go to Page 18 to describe how to setup a spousal T1 in ProFile</a:t>
            </a:r>
          </a:p>
          <a:p>
            <a:endParaRPr lang="en-US" baseline="0" dirty="0"/>
          </a:p>
          <a:p>
            <a:r>
              <a:rPr lang="en-US" baseline="0" dirty="0"/>
              <a:t>Mention the importance of a T1013 (Page 14), and describe the steps in logging onto CRA’s Represent a client website</a:t>
            </a:r>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645492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21 </a:t>
            </a:r>
            <a:r>
              <a:rPr lang="en-CA" baseline="0" dirty="0"/>
              <a:t>and discuss how you enter tax data on each spouse’s T1 (mention the Toggle icon and the F5 key)</a:t>
            </a: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34076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24 discuss how you work with the auditor to verify the T1s</a:t>
            </a:r>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3905528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20</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2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59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image" Target="../media/image11.png"/><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s>
</file>

<file path=ppt/slides/_rels/slide11.xml.rels><?xml version="1.0" encoding="UTF-8" standalone="yes"?>
<Relationships xmlns="http://schemas.openxmlformats.org/package/2006/relationships"><Relationship Id="rId8" Type="http://schemas.microsoft.com/office/2007/relationships/diagramDrawing" Target="../diagrams/drawing13.xml"/><Relationship Id="rId13" Type="http://schemas.microsoft.com/office/2007/relationships/diagramDrawing" Target="../diagrams/drawing14.xml"/><Relationship Id="rId3" Type="http://schemas.openxmlformats.org/officeDocument/2006/relationships/image" Target="../media/image12.png"/><Relationship Id="rId7" Type="http://schemas.openxmlformats.org/officeDocument/2006/relationships/diagramColors" Target="../diagrams/colors13.xml"/><Relationship Id="rId12" Type="http://schemas.openxmlformats.org/officeDocument/2006/relationships/diagramColors" Target="../diagrams/colors14.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QuickStyle" Target="../diagrams/quickStyle13.xml"/><Relationship Id="rId11" Type="http://schemas.openxmlformats.org/officeDocument/2006/relationships/diagramQuickStyle" Target="../diagrams/quickStyle14.xml"/><Relationship Id="rId5" Type="http://schemas.openxmlformats.org/officeDocument/2006/relationships/diagramLayout" Target="../diagrams/layout13.xml"/><Relationship Id="rId10" Type="http://schemas.openxmlformats.org/officeDocument/2006/relationships/diagramLayout" Target="../diagrams/layout14.xml"/><Relationship Id="rId4" Type="http://schemas.openxmlformats.org/officeDocument/2006/relationships/diagramData" Target="../diagrams/data13.xml"/><Relationship Id="rId9" Type="http://schemas.openxmlformats.org/officeDocument/2006/relationships/diagramData" Target="../diagrams/data14.xml"/></Relationships>
</file>

<file path=ppt/slides/_rels/slide12.xml.rels><?xml version="1.0" encoding="UTF-8" standalone="yes"?>
<Relationships xmlns="http://schemas.openxmlformats.org/package/2006/relationships"><Relationship Id="rId8" Type="http://schemas.microsoft.com/office/2007/relationships/diagramDrawing" Target="../diagrams/drawing15.xml"/><Relationship Id="rId13" Type="http://schemas.microsoft.com/office/2007/relationships/diagramDrawing" Target="../diagrams/drawing16.xml"/><Relationship Id="rId3" Type="http://schemas.openxmlformats.org/officeDocument/2006/relationships/image" Target="../media/image13.png"/><Relationship Id="rId7" Type="http://schemas.openxmlformats.org/officeDocument/2006/relationships/diagramColors" Target="../diagrams/colors15.xml"/><Relationship Id="rId12" Type="http://schemas.openxmlformats.org/officeDocument/2006/relationships/diagramColors" Target="../diagrams/colors16.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QuickStyle" Target="../diagrams/quickStyle15.xml"/><Relationship Id="rId11" Type="http://schemas.openxmlformats.org/officeDocument/2006/relationships/diagramQuickStyle" Target="../diagrams/quickStyle16.xml"/><Relationship Id="rId5" Type="http://schemas.openxmlformats.org/officeDocument/2006/relationships/diagramLayout" Target="../diagrams/layout15.xml"/><Relationship Id="rId10" Type="http://schemas.openxmlformats.org/officeDocument/2006/relationships/diagramLayout" Target="../diagrams/layout16.xml"/><Relationship Id="rId4" Type="http://schemas.openxmlformats.org/officeDocument/2006/relationships/diagramData" Target="../diagrams/data15.xml"/><Relationship Id="rId9" Type="http://schemas.openxmlformats.org/officeDocument/2006/relationships/diagramData" Target="../diagrams/data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8.png"/><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9.png"/><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8" Type="http://schemas.microsoft.com/office/2007/relationships/diagramDrawing" Target="../diagrams/drawing7.xml"/><Relationship Id="rId13" Type="http://schemas.microsoft.com/office/2007/relationships/diagramDrawing" Target="../diagrams/drawing8.xml"/><Relationship Id="rId3" Type="http://schemas.openxmlformats.org/officeDocument/2006/relationships/image" Target="../media/image8.png"/><Relationship Id="rId7" Type="http://schemas.openxmlformats.org/officeDocument/2006/relationships/diagramColors" Target="../diagrams/colors7.xml"/><Relationship Id="rId12" Type="http://schemas.openxmlformats.org/officeDocument/2006/relationships/diagramColors" Target="../diagrams/colors8.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QuickStyle" Target="../diagrams/quickStyle7.xml"/><Relationship Id="rId11" Type="http://schemas.openxmlformats.org/officeDocument/2006/relationships/diagramQuickStyle" Target="../diagrams/quickStyle8.xml"/><Relationship Id="rId5" Type="http://schemas.openxmlformats.org/officeDocument/2006/relationships/diagramLayout" Target="../diagrams/layout7.xml"/><Relationship Id="rId10" Type="http://schemas.openxmlformats.org/officeDocument/2006/relationships/diagramLayout" Target="../diagrams/layout8.xml"/><Relationship Id="rId4" Type="http://schemas.openxmlformats.org/officeDocument/2006/relationships/diagramData" Target="../diagrams/data7.xml"/><Relationship Id="rId9" Type="http://schemas.openxmlformats.org/officeDocument/2006/relationships/diagramData" Target="../diagrams/data8.xml"/><Relationship Id="rId1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10.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823680162"/>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Diagram 10">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073667235"/>
              </p:ext>
            </p:extLst>
          </p:nvPr>
        </p:nvGraphicFramePr>
        <p:xfrm>
          <a:off x="9035990" y="2286000"/>
          <a:ext cx="2937633" cy="2286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a:extLst>
              <a:ext uri="{FF2B5EF4-FFF2-40B4-BE49-F238E27FC236}">
                <a16:creationId xmlns:a16="http://schemas.microsoft.com/office/drawing/2014/main" id="{69777259-AAFE-C64F-9173-99A4E65266B8}"/>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31812" y="1524000"/>
            <a:ext cx="8305800" cy="4817172"/>
          </a:xfrm>
          <a:prstGeom prst="rect">
            <a:avLst/>
          </a:prstGeom>
          <a:noFill/>
          <a:ln>
            <a:noFill/>
          </a:ln>
        </p:spPr>
      </p:pic>
    </p:spTree>
    <p:extLst>
      <p:ext uri="{BB962C8B-B14F-4D97-AF65-F5344CB8AC3E}">
        <p14:creationId xmlns:p14="http://schemas.microsoft.com/office/powerpoint/2010/main" val="18578239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FE85E5-29B7-1344-98A3-BC91B7BA702A}"/>
              </a:ext>
            </a:extLst>
          </p:cNvPr>
          <p:cNvPicPr>
            <a:picLocks noChangeAspect="1"/>
          </p:cNvPicPr>
          <p:nvPr/>
        </p:nvPicPr>
        <p:blipFill>
          <a:blip r:embed="rId3"/>
          <a:stretch>
            <a:fillRect/>
          </a:stretch>
        </p:blipFill>
        <p:spPr>
          <a:xfrm>
            <a:off x="1522412" y="914400"/>
            <a:ext cx="8921578" cy="5501640"/>
          </a:xfrm>
          <a:prstGeom prst="rect">
            <a:avLst/>
          </a:prstGeom>
        </p:spPr>
      </p:pic>
      <p:graphicFrame>
        <p:nvGraphicFramePr>
          <p:cNvPr id="6" name="Content Placeholder 3">
            <a:extLst>
              <a:ext uri="{FF2B5EF4-FFF2-40B4-BE49-F238E27FC236}">
                <a16:creationId xmlns:a16="http://schemas.microsoft.com/office/drawing/2014/main" id="{FD982E0A-7557-48FB-AF2B-AC701F95D84B}"/>
              </a:ext>
            </a:extLst>
          </p:cNvPr>
          <p:cNvGraphicFramePr>
            <a:graphicFrameLocks/>
          </p:cNvGraphicFramePr>
          <p:nvPr>
            <p:extLst>
              <p:ext uri="{D42A27DB-BD31-4B8C-83A1-F6EECF244321}">
                <p14:modId xmlns:p14="http://schemas.microsoft.com/office/powerpoint/2010/main" val="445886564"/>
              </p:ext>
            </p:extLst>
          </p:nvPr>
        </p:nvGraphicFramePr>
        <p:xfrm>
          <a:off x="8913812" y="1371600"/>
          <a:ext cx="2115755" cy="3689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2787375510"/>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996142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046C25A-1DF0-EA4B-8179-29B8A0FC45D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0012" y="1538019"/>
            <a:ext cx="7010400" cy="5061119"/>
          </a:xfrm>
          <a:prstGeom prst="rect">
            <a:avLst/>
          </a:prstGeom>
          <a:noFill/>
          <a:ln>
            <a:noFill/>
          </a:ln>
        </p:spPr>
      </p:pic>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3924090044"/>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49724486"/>
              </p:ext>
            </p:extLst>
          </p:nvPr>
        </p:nvGraphicFramePr>
        <p:xfrm>
          <a:off x="8609012" y="2437449"/>
          <a:ext cx="2833687" cy="25146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3225184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End</a:t>
            </a:r>
            <a:endParaRPr lang="en-CA" sz="5400" dirty="0"/>
          </a:p>
        </p:txBody>
      </p:sp>
    </p:spTree>
    <p:extLst>
      <p:ext uri="{BB962C8B-B14F-4D97-AF65-F5344CB8AC3E}">
        <p14:creationId xmlns:p14="http://schemas.microsoft.com/office/powerpoint/2010/main" val="1436006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Chapter 4</a:t>
            </a:r>
            <a:br>
              <a:rPr lang="en-US" sz="5400" dirty="0"/>
            </a:br>
            <a:r>
              <a:rPr lang="en-US" sz="5400" dirty="0"/>
              <a:t>A Basic T1</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8F3D14-11EF-744B-B9EF-3C3A7BF6A8D5}"/>
              </a:ext>
            </a:extLst>
          </p:cNvPr>
          <p:cNvPicPr>
            <a:picLocks noChangeAspect="1"/>
          </p:cNvPicPr>
          <p:nvPr/>
        </p:nvPicPr>
        <p:blipFill>
          <a:blip r:embed="rId3"/>
          <a:stretch>
            <a:fillRect/>
          </a:stretch>
        </p:blipFill>
        <p:spPr>
          <a:xfrm>
            <a:off x="684212" y="1828800"/>
            <a:ext cx="5168900" cy="4521200"/>
          </a:xfrm>
          <a:prstGeom prst="rect">
            <a:avLst/>
          </a:prstGeom>
        </p:spPr>
      </p:pic>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188" y="1371600"/>
            <a:ext cx="6627812" cy="758825"/>
          </a:xfrm>
          <a:prstGeom prst="rect">
            <a:avLst/>
          </a:prstGeom>
        </p:spPr>
        <p:txBody>
          <a:bodyPr/>
          <a:lstStyle/>
          <a:p>
            <a:r>
              <a:rPr lang="en-CA" dirty="0"/>
              <a:t>What’s a T1?</a:t>
            </a:r>
          </a:p>
        </p:txBody>
      </p:sp>
      <p:pic>
        <p:nvPicPr>
          <p:cNvPr id="3" name="Picture 2">
            <a:extLst>
              <a:ext uri="{FF2B5EF4-FFF2-40B4-BE49-F238E27FC236}">
                <a16:creationId xmlns:a16="http://schemas.microsoft.com/office/drawing/2014/main" id="{52450A9F-98C1-F54B-8708-0E784FC64FBD}"/>
              </a:ext>
            </a:extLst>
          </p:cNvPr>
          <p:cNvPicPr>
            <a:picLocks noChangeAspect="1"/>
          </p:cNvPicPr>
          <p:nvPr/>
        </p:nvPicPr>
        <p:blipFill>
          <a:blip r:embed="rId3"/>
          <a:stretch>
            <a:fillRect/>
          </a:stretch>
        </p:blipFill>
        <p:spPr>
          <a:xfrm>
            <a:off x="5713412" y="762000"/>
            <a:ext cx="4379360" cy="5716861"/>
          </a:xfrm>
          <a:prstGeom prst="rect">
            <a:avLst/>
          </a:prstGeom>
        </p:spPr>
      </p:pic>
    </p:spTree>
    <p:extLst>
      <p:ext uri="{BB962C8B-B14F-4D97-AF65-F5344CB8AC3E}">
        <p14:creationId xmlns:p14="http://schemas.microsoft.com/office/powerpoint/2010/main" val="648785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 paper t1</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3275144757"/>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3755808797"/>
              </p:ext>
            </p:extLst>
          </p:nvPr>
        </p:nvGraphicFramePr>
        <p:xfrm>
          <a:off x="7313612" y="1467679"/>
          <a:ext cx="2362200" cy="48132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 name="Picture 1">
            <a:extLst>
              <a:ext uri="{FF2B5EF4-FFF2-40B4-BE49-F238E27FC236}">
                <a16:creationId xmlns:a16="http://schemas.microsoft.com/office/drawing/2014/main" id="{B4D4A2FE-EB02-FF4F-8019-E2A111F657A3}"/>
              </a:ext>
            </a:extLst>
          </p:cNvPr>
          <p:cNvPicPr>
            <a:picLocks noChangeAspect="1"/>
          </p:cNvPicPr>
          <p:nvPr/>
        </p:nvPicPr>
        <p:blipFill>
          <a:blip r:embed="rId13"/>
          <a:stretch>
            <a:fillRect/>
          </a:stretch>
        </p:blipFill>
        <p:spPr>
          <a:xfrm>
            <a:off x="2665412" y="1395529"/>
            <a:ext cx="4060825" cy="5301043"/>
          </a:xfrm>
          <a:prstGeom prst="rect">
            <a:avLst/>
          </a:prstGeom>
        </p:spPr>
      </p:pic>
    </p:spTree>
    <p:extLst>
      <p:ext uri="{BB962C8B-B14F-4D97-AF65-F5344CB8AC3E}">
        <p14:creationId xmlns:p14="http://schemas.microsoft.com/office/powerpoint/2010/main" val="18915216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 ProFile t1</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3697239634"/>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393430511"/>
              </p:ext>
            </p:extLst>
          </p:nvPr>
        </p:nvGraphicFramePr>
        <p:xfrm>
          <a:off x="8745536" y="3200400"/>
          <a:ext cx="3427413" cy="1066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Picture 9">
            <a:extLst>
              <a:ext uri="{FF2B5EF4-FFF2-40B4-BE49-F238E27FC236}">
                <a16:creationId xmlns:a16="http://schemas.microsoft.com/office/drawing/2014/main" id="{32B252E6-E007-E644-A973-9367965DE453}"/>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443756" y="1580102"/>
            <a:ext cx="5760000" cy="4457600"/>
          </a:xfrm>
          <a:prstGeom prst="rect">
            <a:avLst/>
          </a:prstGeom>
          <a:noFill/>
          <a:ln>
            <a:noFill/>
          </a:ln>
        </p:spPr>
      </p:pic>
    </p:spTree>
    <p:extLst>
      <p:ext uri="{BB962C8B-B14F-4D97-AF65-F5344CB8AC3E}">
        <p14:creationId xmlns:p14="http://schemas.microsoft.com/office/powerpoint/2010/main" val="1657771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 ProFile t1</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853479701"/>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553631842"/>
              </p:ext>
            </p:extLst>
          </p:nvPr>
        </p:nvGraphicFramePr>
        <p:xfrm>
          <a:off x="8761412" y="1676400"/>
          <a:ext cx="2632075" cy="37677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a:extLst>
              <a:ext uri="{FF2B5EF4-FFF2-40B4-BE49-F238E27FC236}">
                <a16:creationId xmlns:a16="http://schemas.microsoft.com/office/drawing/2014/main" id="{514D7015-E18F-DD41-814A-3E2064A28722}"/>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214734" y="1524000"/>
            <a:ext cx="7200000" cy="4763333"/>
          </a:xfrm>
          <a:prstGeom prst="rect">
            <a:avLst/>
          </a:prstGeom>
          <a:noFill/>
          <a:ln>
            <a:noFill/>
          </a:ln>
        </p:spPr>
      </p:pic>
    </p:spTree>
    <p:extLst>
      <p:ext uri="{BB962C8B-B14F-4D97-AF65-F5344CB8AC3E}">
        <p14:creationId xmlns:p14="http://schemas.microsoft.com/office/powerpoint/2010/main" val="658008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63372D6-B39F-1A4B-802B-5603CE7C1D2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90396" y="1507234"/>
            <a:ext cx="5760000" cy="4457600"/>
          </a:xfrm>
          <a:prstGeom prst="rect">
            <a:avLst/>
          </a:prstGeom>
          <a:noFill/>
          <a:ln>
            <a:noFill/>
          </a:ln>
        </p:spPr>
      </p:pic>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261082163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434384501"/>
              </p:ext>
            </p:extLst>
          </p:nvPr>
        </p:nvGraphicFramePr>
        <p:xfrm>
          <a:off x="8862777" y="1880502"/>
          <a:ext cx="2668587" cy="371106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1" name="Picture 10">
            <a:extLst>
              <a:ext uri="{FF2B5EF4-FFF2-40B4-BE49-F238E27FC236}">
                <a16:creationId xmlns:a16="http://schemas.microsoft.com/office/drawing/2014/main" id="{AAE5EE1F-5C36-414A-B5C7-1B1012151E31}"/>
              </a:ext>
            </a:extLst>
          </p:cNvPr>
          <p:cNvPicPr>
            <a:picLocks noChangeAspect="1"/>
          </p:cNvPicPr>
          <p:nvPr/>
        </p:nvPicPr>
        <p:blipFill>
          <a:blip r:embed="rId14"/>
          <a:stretch>
            <a:fillRect/>
          </a:stretch>
        </p:blipFill>
        <p:spPr>
          <a:xfrm>
            <a:off x="5256212" y="2441324"/>
            <a:ext cx="3145196" cy="4105772"/>
          </a:xfrm>
          <a:prstGeom prst="rect">
            <a:avLst/>
          </a:prstGeom>
        </p:spPr>
      </p:pic>
    </p:spTree>
    <p:extLst>
      <p:ext uri="{BB962C8B-B14F-4D97-AF65-F5344CB8AC3E}">
        <p14:creationId xmlns:p14="http://schemas.microsoft.com/office/powerpoint/2010/main" val="646284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9931DC-5541-C744-916C-9A9D021CF0B2}"/>
              </a:ext>
            </a:extLst>
          </p:cNvPr>
          <p:cNvPicPr>
            <a:picLocks noChangeAspect="1"/>
          </p:cNvPicPr>
          <p:nvPr/>
        </p:nvPicPr>
        <p:blipFill>
          <a:blip r:embed="rId3"/>
          <a:stretch>
            <a:fillRect/>
          </a:stretch>
        </p:blipFill>
        <p:spPr>
          <a:xfrm>
            <a:off x="1370012" y="1649653"/>
            <a:ext cx="5486400" cy="3977640"/>
          </a:xfrm>
          <a:prstGeom prst="rect">
            <a:avLst/>
          </a:prstGeom>
        </p:spPr>
      </p:pic>
      <p:sp>
        <p:nvSpPr>
          <p:cNvPr id="5" name="Title 1"/>
          <p:cNvSpPr txBox="1">
            <a:spLocks/>
          </p:cNvSpPr>
          <p:nvPr/>
        </p:nvSpPr>
        <p:spPr>
          <a:xfrm>
            <a:off x="0" y="615922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7" name="Content Placeholder 2">
            <a:extLst>
              <a:ext uri="{FF2B5EF4-FFF2-40B4-BE49-F238E27FC236}">
                <a16:creationId xmlns:a16="http://schemas.microsoft.com/office/drawing/2014/main" id="{6C796030-2562-4393-BE3C-B9EB69959139}"/>
              </a:ext>
            </a:extLst>
          </p:cNvPr>
          <p:cNvGraphicFramePr>
            <a:graphicFrameLocks/>
          </p:cNvGraphicFramePr>
          <p:nvPr>
            <p:extLst>
              <p:ext uri="{D42A27DB-BD31-4B8C-83A1-F6EECF244321}">
                <p14:modId xmlns:p14="http://schemas.microsoft.com/office/powerpoint/2010/main" val="1610755294"/>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523649394"/>
              </p:ext>
            </p:extLst>
          </p:nvPr>
        </p:nvGraphicFramePr>
        <p:xfrm>
          <a:off x="7770812" y="1457529"/>
          <a:ext cx="3657600" cy="430514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532980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16</TotalTime>
  <Words>433</Words>
  <Application>Microsoft Macintosh PowerPoint</Application>
  <PresentationFormat>Custom</PresentationFormat>
  <Paragraphs>72</Paragraphs>
  <Slides>13</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4 A Basic T1</vt:lpstr>
      <vt:lpstr>PowerPoint Presentation</vt:lpstr>
      <vt:lpstr>What’s a T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15</cp:revision>
  <cp:lastPrinted>2017-01-10T23:11:41Z</cp:lastPrinted>
  <dcterms:created xsi:type="dcterms:W3CDTF">2014-09-11T15:23:46Z</dcterms:created>
  <dcterms:modified xsi:type="dcterms:W3CDTF">2020-12-13T17:38:03Z</dcterms:modified>
</cp:coreProperties>
</file>